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344" r:id="rId2"/>
    <p:sldId id="366" r:id="rId3"/>
    <p:sldId id="391" r:id="rId4"/>
    <p:sldId id="401" r:id="rId5"/>
    <p:sldId id="392" r:id="rId6"/>
    <p:sldId id="370" r:id="rId7"/>
    <p:sldId id="373" r:id="rId8"/>
    <p:sldId id="374" r:id="rId9"/>
    <p:sldId id="393" r:id="rId10"/>
    <p:sldId id="394" r:id="rId11"/>
    <p:sldId id="395" r:id="rId12"/>
    <p:sldId id="396" r:id="rId13"/>
    <p:sldId id="398" r:id="rId14"/>
    <p:sldId id="397" r:id="rId15"/>
    <p:sldId id="399" r:id="rId16"/>
    <p:sldId id="400" r:id="rId17"/>
    <p:sldId id="347" r:id="rId1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88" autoAdjust="0"/>
    <p:restoredTop sz="98224" autoAdjust="0"/>
  </p:normalViewPr>
  <p:slideViewPr>
    <p:cSldViewPr>
      <p:cViewPr>
        <p:scale>
          <a:sx n="80" d="100"/>
          <a:sy n="80" d="100"/>
        </p:scale>
        <p:origin x="360" y="6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9CACED-4357-4F54-B362-1BBD963F9528}" type="doc">
      <dgm:prSet loTypeId="urn:microsoft.com/office/officeart/2005/8/layout/orgChart1" loCatId="hierarchy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E83BED6-72D2-40AA-AEC0-E00DB39B7779}">
      <dgm:prSet custT="1"/>
      <dgm:spPr/>
      <dgm:t>
        <a:bodyPr/>
        <a:lstStyle/>
        <a:p>
          <a:pPr rtl="0"/>
          <a:r>
            <a:rPr lang="en-US" sz="2400" dirty="0" smtClean="0"/>
            <a:t>Performance</a:t>
          </a:r>
          <a:endParaRPr lang="en-US" sz="2400" dirty="0"/>
        </a:p>
      </dgm:t>
    </dgm:pt>
    <dgm:pt modelId="{E909CF10-A94C-40D0-809D-A965F0027C14}" type="parTrans" cxnId="{91BC3888-C210-44D4-8F45-F0177B94D3D3}">
      <dgm:prSet/>
      <dgm:spPr/>
      <dgm:t>
        <a:bodyPr/>
        <a:lstStyle/>
        <a:p>
          <a:endParaRPr lang="en-US" sz="3200"/>
        </a:p>
      </dgm:t>
    </dgm:pt>
    <dgm:pt modelId="{9473080E-8303-4337-BC53-BC75E476AFCF}" type="sibTrans" cxnId="{91BC3888-C210-44D4-8F45-F0177B94D3D3}">
      <dgm:prSet/>
      <dgm:spPr/>
      <dgm:t>
        <a:bodyPr/>
        <a:lstStyle/>
        <a:p>
          <a:endParaRPr lang="en-US" sz="3200"/>
        </a:p>
      </dgm:t>
    </dgm:pt>
    <dgm:pt modelId="{F71B3521-3C56-4052-BCD1-EA1D3EC6C481}">
      <dgm:prSet custT="1"/>
      <dgm:spPr/>
      <dgm:t>
        <a:bodyPr/>
        <a:lstStyle/>
        <a:p>
          <a:pPr rtl="0"/>
          <a:r>
            <a:rPr lang="en-US" sz="1600" smtClean="0"/>
            <a:t>Control Resource Demand</a:t>
          </a:r>
          <a:endParaRPr lang="en-US" sz="1600"/>
        </a:p>
      </dgm:t>
    </dgm:pt>
    <dgm:pt modelId="{A60FFF55-2885-42D8-80AE-7C93D2F114D2}" type="parTrans" cxnId="{BA53FF5F-979E-45BD-8AFE-0436ABBEBD48}">
      <dgm:prSet custT="1"/>
      <dgm:spPr/>
      <dgm:t>
        <a:bodyPr/>
        <a:lstStyle/>
        <a:p>
          <a:endParaRPr lang="en-US" sz="900"/>
        </a:p>
      </dgm:t>
    </dgm:pt>
    <dgm:pt modelId="{04C87A95-CE1A-40CE-BD04-BA16A5204ACD}" type="sibTrans" cxnId="{BA53FF5F-979E-45BD-8AFE-0436ABBEBD48}">
      <dgm:prSet/>
      <dgm:spPr/>
      <dgm:t>
        <a:bodyPr/>
        <a:lstStyle/>
        <a:p>
          <a:endParaRPr lang="en-US" sz="3200"/>
        </a:p>
      </dgm:t>
    </dgm:pt>
    <dgm:pt modelId="{52326B99-223E-4164-90D7-189BFAB66F0A}">
      <dgm:prSet custT="1"/>
      <dgm:spPr/>
      <dgm:t>
        <a:bodyPr/>
        <a:lstStyle/>
        <a:p>
          <a:pPr rtl="0"/>
          <a:r>
            <a:rPr lang="en-US" sz="1600" dirty="0" smtClean="0"/>
            <a:t>Reduce resource </a:t>
          </a:r>
          <a:r>
            <a:rPr lang="en-US" sz="1600" dirty="0" err="1" smtClean="0"/>
            <a:t>reqd</a:t>
          </a:r>
          <a:endParaRPr lang="en-US" sz="1600" dirty="0"/>
        </a:p>
      </dgm:t>
    </dgm:pt>
    <dgm:pt modelId="{43F9BBB7-7A45-4719-B812-E36462539D72}" type="parTrans" cxnId="{80AA12F1-72CF-4118-B799-EB126F2E4659}">
      <dgm:prSet custT="1"/>
      <dgm:spPr/>
      <dgm:t>
        <a:bodyPr/>
        <a:lstStyle/>
        <a:p>
          <a:endParaRPr lang="en-US" sz="900"/>
        </a:p>
      </dgm:t>
    </dgm:pt>
    <dgm:pt modelId="{6A06A137-FFCF-4AC8-A6A6-6CC520E649F9}" type="sibTrans" cxnId="{80AA12F1-72CF-4118-B799-EB126F2E4659}">
      <dgm:prSet/>
      <dgm:spPr/>
      <dgm:t>
        <a:bodyPr/>
        <a:lstStyle/>
        <a:p>
          <a:endParaRPr lang="en-US" sz="3200"/>
        </a:p>
      </dgm:t>
    </dgm:pt>
    <dgm:pt modelId="{E451B676-0CAC-406F-89E6-916AC8C8C93A}">
      <dgm:prSet custT="1"/>
      <dgm:spPr/>
      <dgm:t>
        <a:bodyPr/>
        <a:lstStyle/>
        <a:p>
          <a:pPr rtl="0"/>
          <a:r>
            <a:rPr lang="en-US" sz="1600" dirty="0" smtClean="0"/>
            <a:t>Increase in compute efficiency</a:t>
          </a:r>
          <a:endParaRPr lang="en-US" sz="1600" dirty="0"/>
        </a:p>
      </dgm:t>
    </dgm:pt>
    <dgm:pt modelId="{A452153C-2C8E-4105-89D1-F2A798AB2705}" type="parTrans" cxnId="{D905224C-9F43-4CD3-90EB-0488072EA899}">
      <dgm:prSet custT="1"/>
      <dgm:spPr/>
      <dgm:t>
        <a:bodyPr/>
        <a:lstStyle/>
        <a:p>
          <a:endParaRPr lang="en-US" sz="900"/>
        </a:p>
      </dgm:t>
    </dgm:pt>
    <dgm:pt modelId="{CBDF9A26-4D10-4197-9A88-511C33963680}" type="sibTrans" cxnId="{D905224C-9F43-4CD3-90EB-0488072EA899}">
      <dgm:prSet/>
      <dgm:spPr/>
      <dgm:t>
        <a:bodyPr/>
        <a:lstStyle/>
        <a:p>
          <a:endParaRPr lang="en-US" sz="3200"/>
        </a:p>
      </dgm:t>
    </dgm:pt>
    <dgm:pt modelId="{810B1EE7-ADA7-4515-A7BC-7AA700C89083}">
      <dgm:prSet custT="1"/>
      <dgm:spPr/>
      <dgm:t>
        <a:bodyPr/>
        <a:lstStyle/>
        <a:p>
          <a:pPr rtl="0"/>
          <a:r>
            <a:rPr lang="en-US" sz="1600" smtClean="0"/>
            <a:t>Reduce overhead</a:t>
          </a:r>
          <a:endParaRPr lang="en-US" sz="1600"/>
        </a:p>
      </dgm:t>
    </dgm:pt>
    <dgm:pt modelId="{688FDE0E-B158-4D2A-BD17-E32A7E92A590}" type="parTrans" cxnId="{21067F37-5C70-43C8-B9FA-046E8A81E312}">
      <dgm:prSet custT="1"/>
      <dgm:spPr/>
      <dgm:t>
        <a:bodyPr/>
        <a:lstStyle/>
        <a:p>
          <a:endParaRPr lang="en-US" sz="900"/>
        </a:p>
      </dgm:t>
    </dgm:pt>
    <dgm:pt modelId="{3F338A8F-D527-4D99-9FD4-7663FE18B3FB}" type="sibTrans" cxnId="{21067F37-5C70-43C8-B9FA-046E8A81E312}">
      <dgm:prSet/>
      <dgm:spPr/>
      <dgm:t>
        <a:bodyPr/>
        <a:lstStyle/>
        <a:p>
          <a:endParaRPr lang="en-US" sz="3200"/>
        </a:p>
      </dgm:t>
    </dgm:pt>
    <dgm:pt modelId="{E4F26A9D-442B-4CF3-B8A7-61AD103578AA}">
      <dgm:prSet custT="1"/>
      <dgm:spPr/>
      <dgm:t>
        <a:bodyPr/>
        <a:lstStyle/>
        <a:p>
          <a:pPr rtl="0"/>
          <a:r>
            <a:rPr lang="en-US" sz="1600" smtClean="0"/>
            <a:t>Reduce #of events</a:t>
          </a:r>
          <a:endParaRPr lang="en-US" sz="1600"/>
        </a:p>
      </dgm:t>
    </dgm:pt>
    <dgm:pt modelId="{7B7C413D-1FCC-4D9D-9F1C-BACFFAFF07D7}" type="parTrans" cxnId="{BFAD9CB4-B266-4ED1-B256-5B115E51A922}">
      <dgm:prSet custT="1"/>
      <dgm:spPr/>
      <dgm:t>
        <a:bodyPr/>
        <a:lstStyle/>
        <a:p>
          <a:endParaRPr lang="en-US" sz="900"/>
        </a:p>
      </dgm:t>
    </dgm:pt>
    <dgm:pt modelId="{A44C9AC1-0FD1-4891-8DAF-618E59E6EBED}" type="sibTrans" cxnId="{BFAD9CB4-B266-4ED1-B256-5B115E51A922}">
      <dgm:prSet/>
      <dgm:spPr/>
      <dgm:t>
        <a:bodyPr/>
        <a:lstStyle/>
        <a:p>
          <a:endParaRPr lang="en-US" sz="3200"/>
        </a:p>
      </dgm:t>
    </dgm:pt>
    <dgm:pt modelId="{7671B5D7-6326-4F5B-A653-3CAF4F85C317}">
      <dgm:prSet custT="1"/>
      <dgm:spPr/>
      <dgm:t>
        <a:bodyPr/>
        <a:lstStyle/>
        <a:p>
          <a:pPr rtl="0"/>
          <a:r>
            <a:rPr lang="en-US" sz="1600" smtClean="0"/>
            <a:t>Manage event rate</a:t>
          </a:r>
          <a:endParaRPr lang="en-US" sz="1600"/>
        </a:p>
      </dgm:t>
    </dgm:pt>
    <dgm:pt modelId="{7E5C29F3-5719-4E17-8CBB-86C58D1C392D}" type="parTrans" cxnId="{4E32FD09-72B4-4A0C-859E-E8EC0735A805}">
      <dgm:prSet custT="1"/>
      <dgm:spPr/>
      <dgm:t>
        <a:bodyPr/>
        <a:lstStyle/>
        <a:p>
          <a:endParaRPr lang="en-US" sz="900"/>
        </a:p>
      </dgm:t>
    </dgm:pt>
    <dgm:pt modelId="{E73BEF5A-7A13-4798-875B-3AF82E129181}" type="sibTrans" cxnId="{4E32FD09-72B4-4A0C-859E-E8EC0735A805}">
      <dgm:prSet/>
      <dgm:spPr/>
      <dgm:t>
        <a:bodyPr/>
        <a:lstStyle/>
        <a:p>
          <a:endParaRPr lang="en-US" sz="3200"/>
        </a:p>
      </dgm:t>
    </dgm:pt>
    <dgm:pt modelId="{3120464E-6024-475A-B833-ED05EB9364F6}">
      <dgm:prSet custT="1"/>
      <dgm:spPr/>
      <dgm:t>
        <a:bodyPr/>
        <a:lstStyle/>
        <a:p>
          <a:pPr rtl="0"/>
          <a:r>
            <a:rPr lang="en-US" sz="1600" dirty="0" smtClean="0"/>
            <a:t>Control sampling </a:t>
          </a:r>
          <a:r>
            <a:rPr lang="en-US" sz="1600" dirty="0" err="1" smtClean="0"/>
            <a:t>freq</a:t>
          </a:r>
          <a:endParaRPr lang="en-US" sz="1600" dirty="0"/>
        </a:p>
      </dgm:t>
    </dgm:pt>
    <dgm:pt modelId="{9C6E6B69-2180-480A-A2A4-BBF946CFBF3C}" type="parTrans" cxnId="{47B2ACAB-05D1-4DAF-8B40-5A7D70A3708E}">
      <dgm:prSet custT="1"/>
      <dgm:spPr/>
      <dgm:t>
        <a:bodyPr/>
        <a:lstStyle/>
        <a:p>
          <a:endParaRPr lang="en-US" sz="900"/>
        </a:p>
      </dgm:t>
    </dgm:pt>
    <dgm:pt modelId="{76E983C7-6E5F-439F-9C61-D3301964DD49}" type="sibTrans" cxnId="{47B2ACAB-05D1-4DAF-8B40-5A7D70A3708E}">
      <dgm:prSet/>
      <dgm:spPr/>
      <dgm:t>
        <a:bodyPr/>
        <a:lstStyle/>
        <a:p>
          <a:endParaRPr lang="en-US" sz="3200"/>
        </a:p>
      </dgm:t>
    </dgm:pt>
    <dgm:pt modelId="{F0813E2C-4806-4C65-8B5D-B3CAA55AB4B6}">
      <dgm:prSet custT="1"/>
      <dgm:spPr/>
      <dgm:t>
        <a:bodyPr/>
        <a:lstStyle/>
        <a:p>
          <a:pPr rtl="0"/>
          <a:r>
            <a:rPr lang="en-US" sz="1600" dirty="0" smtClean="0"/>
            <a:t>Control resource usage</a:t>
          </a:r>
          <a:endParaRPr lang="en-US" sz="1600" dirty="0"/>
        </a:p>
      </dgm:t>
    </dgm:pt>
    <dgm:pt modelId="{5C8FC595-5907-4E6D-A000-F6203E0A6DB2}" type="parTrans" cxnId="{AA254AB3-A982-43DF-BF08-2B63FC3E8ACF}">
      <dgm:prSet custT="1"/>
      <dgm:spPr/>
      <dgm:t>
        <a:bodyPr/>
        <a:lstStyle/>
        <a:p>
          <a:endParaRPr lang="en-US" sz="900"/>
        </a:p>
      </dgm:t>
    </dgm:pt>
    <dgm:pt modelId="{3964BBF3-C709-403C-B809-DE00E322985E}" type="sibTrans" cxnId="{AA254AB3-A982-43DF-BF08-2B63FC3E8ACF}">
      <dgm:prSet/>
      <dgm:spPr/>
      <dgm:t>
        <a:bodyPr/>
        <a:lstStyle/>
        <a:p>
          <a:endParaRPr lang="en-US" sz="3200"/>
        </a:p>
      </dgm:t>
    </dgm:pt>
    <dgm:pt modelId="{2024CE07-0840-4AFA-A285-8A332F9F0084}">
      <dgm:prSet custT="1"/>
      <dgm:spPr/>
      <dgm:t>
        <a:bodyPr/>
        <a:lstStyle/>
        <a:p>
          <a:pPr rtl="0"/>
          <a:r>
            <a:rPr lang="en-US" sz="1600" dirty="0" smtClean="0"/>
            <a:t>Bound execution time</a:t>
          </a:r>
          <a:endParaRPr lang="en-US" sz="1600" dirty="0"/>
        </a:p>
      </dgm:t>
    </dgm:pt>
    <dgm:pt modelId="{4ED415F9-59B2-4644-8650-A4A52C08AAF1}" type="parTrans" cxnId="{287E05F7-89BA-4B54-8AFF-77FBEBA79715}">
      <dgm:prSet custT="1"/>
      <dgm:spPr/>
      <dgm:t>
        <a:bodyPr/>
        <a:lstStyle/>
        <a:p>
          <a:endParaRPr lang="en-US" sz="900"/>
        </a:p>
      </dgm:t>
    </dgm:pt>
    <dgm:pt modelId="{25F22E91-CAE5-4C7C-9F8E-57A952A79A8E}" type="sibTrans" cxnId="{287E05F7-89BA-4B54-8AFF-77FBEBA79715}">
      <dgm:prSet/>
      <dgm:spPr/>
      <dgm:t>
        <a:bodyPr/>
        <a:lstStyle/>
        <a:p>
          <a:endParaRPr lang="en-US" sz="3200"/>
        </a:p>
      </dgm:t>
    </dgm:pt>
    <dgm:pt modelId="{7ACFD0D1-A2F7-4D8B-B016-D6307FF6BC97}">
      <dgm:prSet custT="1"/>
      <dgm:spPr/>
      <dgm:t>
        <a:bodyPr/>
        <a:lstStyle/>
        <a:p>
          <a:pPr rtl="0"/>
          <a:r>
            <a:rPr lang="en-US" sz="1600" dirty="0" smtClean="0"/>
            <a:t>Bound queue size</a:t>
          </a:r>
          <a:endParaRPr lang="en-US" sz="1600" dirty="0"/>
        </a:p>
      </dgm:t>
    </dgm:pt>
    <dgm:pt modelId="{17043636-82E3-4A58-BD54-255DAE385AA4}" type="parTrans" cxnId="{223C3792-783D-4965-8CFD-8BFA18063BE5}">
      <dgm:prSet custT="1"/>
      <dgm:spPr/>
      <dgm:t>
        <a:bodyPr/>
        <a:lstStyle/>
        <a:p>
          <a:endParaRPr lang="en-US" sz="900"/>
        </a:p>
      </dgm:t>
    </dgm:pt>
    <dgm:pt modelId="{447DFFCA-08FE-45A8-A203-ECEF4DEF995A}" type="sibTrans" cxnId="{223C3792-783D-4965-8CFD-8BFA18063BE5}">
      <dgm:prSet/>
      <dgm:spPr/>
      <dgm:t>
        <a:bodyPr/>
        <a:lstStyle/>
        <a:p>
          <a:endParaRPr lang="en-US" sz="3200"/>
        </a:p>
      </dgm:t>
    </dgm:pt>
    <dgm:pt modelId="{94FACFF2-580F-4E03-A72E-6A78D3F61A0D}">
      <dgm:prSet custT="1"/>
      <dgm:spPr/>
      <dgm:t>
        <a:bodyPr/>
        <a:lstStyle/>
        <a:p>
          <a:pPr rtl="0"/>
          <a:r>
            <a:rPr lang="en-US" sz="1600" dirty="0" smtClean="0"/>
            <a:t>Resource Management</a:t>
          </a:r>
          <a:endParaRPr lang="en-US" sz="1600" dirty="0"/>
        </a:p>
      </dgm:t>
    </dgm:pt>
    <dgm:pt modelId="{BBB07DC0-FEB0-41A7-994C-B6C0577FD4BB}" type="parTrans" cxnId="{68AE023E-F2C9-43DB-AF67-5F5A3881FC9A}">
      <dgm:prSet custT="1"/>
      <dgm:spPr/>
      <dgm:t>
        <a:bodyPr/>
        <a:lstStyle/>
        <a:p>
          <a:endParaRPr lang="en-US" sz="900"/>
        </a:p>
      </dgm:t>
    </dgm:pt>
    <dgm:pt modelId="{885E6A8D-99E2-48EC-9D08-E3ED777D83AC}" type="sibTrans" cxnId="{68AE023E-F2C9-43DB-AF67-5F5A3881FC9A}">
      <dgm:prSet/>
      <dgm:spPr/>
      <dgm:t>
        <a:bodyPr/>
        <a:lstStyle/>
        <a:p>
          <a:endParaRPr lang="en-US" sz="3200"/>
        </a:p>
      </dgm:t>
    </dgm:pt>
    <dgm:pt modelId="{930425C0-40A6-483D-B20A-ADF47FECA268}">
      <dgm:prSet custT="1"/>
      <dgm:spPr/>
      <dgm:t>
        <a:bodyPr/>
        <a:lstStyle/>
        <a:p>
          <a:pPr rtl="0"/>
          <a:r>
            <a:rPr lang="en-US" sz="1600" b="0" smtClean="0"/>
            <a:t>Increase concurrency</a:t>
          </a:r>
          <a:endParaRPr lang="en-US" sz="1600"/>
        </a:p>
      </dgm:t>
    </dgm:pt>
    <dgm:pt modelId="{D0A1B840-787D-4ED8-9FA8-82EFBF4A16ED}" type="parTrans" cxnId="{AEAF9D67-E660-462E-915D-DBA4FC31214E}">
      <dgm:prSet custT="1"/>
      <dgm:spPr/>
      <dgm:t>
        <a:bodyPr/>
        <a:lstStyle/>
        <a:p>
          <a:endParaRPr lang="en-US" sz="900"/>
        </a:p>
      </dgm:t>
    </dgm:pt>
    <dgm:pt modelId="{6EA20A79-F908-456E-9CB2-9415506673C5}" type="sibTrans" cxnId="{AEAF9D67-E660-462E-915D-DBA4FC31214E}">
      <dgm:prSet/>
      <dgm:spPr/>
      <dgm:t>
        <a:bodyPr/>
        <a:lstStyle/>
        <a:p>
          <a:endParaRPr lang="en-US" sz="3200"/>
        </a:p>
      </dgm:t>
    </dgm:pt>
    <dgm:pt modelId="{1026319C-D65E-47DE-B68C-CB11FC289573}">
      <dgm:prSet custT="1"/>
      <dgm:spPr/>
      <dgm:t>
        <a:bodyPr/>
        <a:lstStyle/>
        <a:p>
          <a:pPr rtl="0"/>
          <a:r>
            <a:rPr lang="en-US" sz="1600" dirty="0" smtClean="0"/>
            <a:t>Maintain multiple copies of data/ computation</a:t>
          </a:r>
          <a:endParaRPr lang="en-US" sz="1600" dirty="0"/>
        </a:p>
      </dgm:t>
    </dgm:pt>
    <dgm:pt modelId="{AC66B097-9A77-4B4E-88EB-CCA6711BE3A9}" type="parTrans" cxnId="{16D0589D-860A-4F46-BA1F-F5A87674EE29}">
      <dgm:prSet custT="1"/>
      <dgm:spPr/>
      <dgm:t>
        <a:bodyPr/>
        <a:lstStyle/>
        <a:p>
          <a:endParaRPr lang="en-US" sz="900"/>
        </a:p>
      </dgm:t>
    </dgm:pt>
    <dgm:pt modelId="{4C185AE5-94A0-4DC9-BF18-A322378B65E3}" type="sibTrans" cxnId="{16D0589D-860A-4F46-BA1F-F5A87674EE29}">
      <dgm:prSet/>
      <dgm:spPr/>
      <dgm:t>
        <a:bodyPr/>
        <a:lstStyle/>
        <a:p>
          <a:endParaRPr lang="en-US" sz="3200"/>
        </a:p>
      </dgm:t>
    </dgm:pt>
    <dgm:pt modelId="{B814C49C-8DAB-46CD-88C0-98D4B1FCF628}">
      <dgm:prSet custT="1"/>
      <dgm:spPr/>
      <dgm:t>
        <a:bodyPr/>
        <a:lstStyle/>
        <a:p>
          <a:pPr rtl="0"/>
          <a:r>
            <a:rPr lang="en-US" sz="1600" b="0" smtClean="0"/>
            <a:t>Increase Resource</a:t>
          </a:r>
          <a:endParaRPr lang="en-US" sz="1600"/>
        </a:p>
      </dgm:t>
    </dgm:pt>
    <dgm:pt modelId="{E66D0E20-5C3D-409D-809A-AF9EF574822C}" type="parTrans" cxnId="{ECE6AD1B-E202-4101-8BE3-577AB0E85D45}">
      <dgm:prSet custT="1"/>
      <dgm:spPr/>
      <dgm:t>
        <a:bodyPr/>
        <a:lstStyle/>
        <a:p>
          <a:endParaRPr lang="en-US" sz="900"/>
        </a:p>
      </dgm:t>
    </dgm:pt>
    <dgm:pt modelId="{BAB494CC-CDA7-4E3A-AAC9-7B11016243B3}" type="sibTrans" cxnId="{ECE6AD1B-E202-4101-8BE3-577AB0E85D45}">
      <dgm:prSet/>
      <dgm:spPr/>
      <dgm:t>
        <a:bodyPr/>
        <a:lstStyle/>
        <a:p>
          <a:endParaRPr lang="en-US" sz="3200"/>
        </a:p>
      </dgm:t>
    </dgm:pt>
    <dgm:pt modelId="{2CDD2A35-444D-4D71-92BA-C8B34D8CA909}">
      <dgm:prSet custT="1"/>
      <dgm:spPr/>
      <dgm:t>
        <a:bodyPr/>
        <a:lstStyle/>
        <a:p>
          <a:pPr rtl="0"/>
          <a:r>
            <a:rPr lang="en-US" sz="1600" smtClean="0"/>
            <a:t>Resource Arbitration</a:t>
          </a:r>
          <a:endParaRPr lang="en-US" sz="1600"/>
        </a:p>
      </dgm:t>
    </dgm:pt>
    <dgm:pt modelId="{5E6F2279-1A64-4664-9BDB-D1E6E052C3CB}" type="parTrans" cxnId="{627D6356-807D-4C8D-B05C-37459C390F38}">
      <dgm:prSet custT="1"/>
      <dgm:spPr/>
      <dgm:t>
        <a:bodyPr/>
        <a:lstStyle/>
        <a:p>
          <a:endParaRPr lang="en-US" sz="900"/>
        </a:p>
      </dgm:t>
    </dgm:pt>
    <dgm:pt modelId="{20FFD80E-CD8F-4EB4-9A9C-368F11DA1E34}" type="sibTrans" cxnId="{627D6356-807D-4C8D-B05C-37459C390F38}">
      <dgm:prSet/>
      <dgm:spPr/>
      <dgm:t>
        <a:bodyPr/>
        <a:lstStyle/>
        <a:p>
          <a:endParaRPr lang="en-US" sz="3200"/>
        </a:p>
      </dgm:t>
    </dgm:pt>
    <dgm:pt modelId="{4BFE5450-8F82-4A26-8FDF-DF7A6C482BF7}">
      <dgm:prSet custT="1"/>
      <dgm:spPr/>
      <dgm:t>
        <a:bodyPr/>
        <a:lstStyle/>
        <a:p>
          <a:pPr rtl="0"/>
          <a:r>
            <a:rPr lang="en-US" sz="1600" smtClean="0"/>
            <a:t>FIFO</a:t>
          </a:r>
          <a:endParaRPr lang="en-US" sz="1600"/>
        </a:p>
      </dgm:t>
    </dgm:pt>
    <dgm:pt modelId="{68FFA976-AE26-4683-8AEF-A4906C549929}" type="parTrans" cxnId="{403EDE93-A57A-4F9E-B3EE-F5B39722219E}">
      <dgm:prSet custT="1"/>
      <dgm:spPr/>
      <dgm:t>
        <a:bodyPr/>
        <a:lstStyle/>
        <a:p>
          <a:endParaRPr lang="en-US" sz="900"/>
        </a:p>
      </dgm:t>
    </dgm:pt>
    <dgm:pt modelId="{29569558-4D7A-4E00-A197-0DC2808CADE1}" type="sibTrans" cxnId="{403EDE93-A57A-4F9E-B3EE-F5B39722219E}">
      <dgm:prSet/>
      <dgm:spPr/>
      <dgm:t>
        <a:bodyPr/>
        <a:lstStyle/>
        <a:p>
          <a:endParaRPr lang="en-US" sz="3200"/>
        </a:p>
      </dgm:t>
    </dgm:pt>
    <dgm:pt modelId="{E153FD2F-958B-4501-A714-C375DBAA7B73}">
      <dgm:prSet custT="1"/>
      <dgm:spPr/>
      <dgm:t>
        <a:bodyPr/>
        <a:lstStyle/>
        <a:p>
          <a:pPr rtl="0"/>
          <a:r>
            <a:rPr lang="en-US" sz="1600" smtClean="0"/>
            <a:t>Scheduling policy</a:t>
          </a:r>
          <a:endParaRPr lang="en-US" sz="1600"/>
        </a:p>
      </dgm:t>
    </dgm:pt>
    <dgm:pt modelId="{37569E72-FE62-463B-985A-434A9B88A922}" type="parTrans" cxnId="{8261E12B-45A4-4AE4-A085-34D551051DF2}">
      <dgm:prSet custT="1"/>
      <dgm:spPr/>
      <dgm:t>
        <a:bodyPr/>
        <a:lstStyle/>
        <a:p>
          <a:endParaRPr lang="en-US" sz="900"/>
        </a:p>
      </dgm:t>
    </dgm:pt>
    <dgm:pt modelId="{813871F4-893C-45CA-90CA-14A824331AF1}" type="sibTrans" cxnId="{8261E12B-45A4-4AE4-A085-34D551051DF2}">
      <dgm:prSet/>
      <dgm:spPr/>
      <dgm:t>
        <a:bodyPr/>
        <a:lstStyle/>
        <a:p>
          <a:endParaRPr lang="en-US" sz="3200"/>
        </a:p>
      </dgm:t>
    </dgm:pt>
    <dgm:pt modelId="{2200EFBE-E51B-40A8-A3E2-1D0324F302C7}">
      <dgm:prSet custT="1"/>
      <dgm:spPr/>
      <dgm:t>
        <a:bodyPr/>
        <a:lstStyle/>
        <a:p>
          <a:pPr rtl="0"/>
          <a:r>
            <a:rPr lang="en-US" sz="1600" smtClean="0"/>
            <a:t>Static </a:t>
          </a:r>
          <a:endParaRPr lang="en-US" sz="1600"/>
        </a:p>
      </dgm:t>
    </dgm:pt>
    <dgm:pt modelId="{1B74D045-C566-437F-BAD9-2E5044FD5BC2}" type="parTrans" cxnId="{622C97C6-A014-496D-9ABC-01BCAE9C902F}">
      <dgm:prSet custT="1"/>
      <dgm:spPr/>
      <dgm:t>
        <a:bodyPr/>
        <a:lstStyle/>
        <a:p>
          <a:endParaRPr lang="en-US" sz="900"/>
        </a:p>
      </dgm:t>
    </dgm:pt>
    <dgm:pt modelId="{467E0E56-FE40-425D-B073-0E8D99971773}" type="sibTrans" cxnId="{622C97C6-A014-496D-9ABC-01BCAE9C902F}">
      <dgm:prSet/>
      <dgm:spPr/>
      <dgm:t>
        <a:bodyPr/>
        <a:lstStyle/>
        <a:p>
          <a:endParaRPr lang="en-US" sz="3200"/>
        </a:p>
      </dgm:t>
    </dgm:pt>
    <dgm:pt modelId="{DF1F2610-331D-40FA-BF9D-6EDF9EFE51A9}">
      <dgm:prSet custT="1"/>
      <dgm:spPr/>
      <dgm:t>
        <a:bodyPr/>
        <a:lstStyle/>
        <a:p>
          <a:pPr rtl="0"/>
          <a:r>
            <a:rPr lang="en-US" sz="1600" smtClean="0"/>
            <a:t>Dynamic priority</a:t>
          </a:r>
          <a:endParaRPr lang="en-US" sz="1600"/>
        </a:p>
      </dgm:t>
    </dgm:pt>
    <dgm:pt modelId="{0F371CAE-D9D2-46D9-8B94-DA36E13C6AD2}" type="parTrans" cxnId="{1E27E3D6-4258-41F0-A036-70EBDD7987F0}">
      <dgm:prSet custT="1"/>
      <dgm:spPr/>
      <dgm:t>
        <a:bodyPr/>
        <a:lstStyle/>
        <a:p>
          <a:endParaRPr lang="en-US" sz="900"/>
        </a:p>
      </dgm:t>
    </dgm:pt>
    <dgm:pt modelId="{42F110AA-9D8C-489A-8265-CF1111F09DD2}" type="sibTrans" cxnId="{1E27E3D6-4258-41F0-A036-70EBDD7987F0}">
      <dgm:prSet/>
      <dgm:spPr/>
      <dgm:t>
        <a:bodyPr/>
        <a:lstStyle/>
        <a:p>
          <a:endParaRPr lang="en-US" sz="3200"/>
        </a:p>
      </dgm:t>
    </dgm:pt>
    <dgm:pt modelId="{22411C1A-32C3-429F-B62A-F788CAD2365E}">
      <dgm:prSet custT="1"/>
      <dgm:spPr/>
      <dgm:t>
        <a:bodyPr/>
        <a:lstStyle/>
        <a:p>
          <a:pPr rtl="0"/>
          <a:r>
            <a:rPr lang="en-US" sz="1600" smtClean="0"/>
            <a:t>Fixed priority</a:t>
          </a:r>
          <a:endParaRPr lang="en-US" sz="1600"/>
        </a:p>
      </dgm:t>
    </dgm:pt>
    <dgm:pt modelId="{38E38FE5-60BB-4700-B80B-60E945994C77}" type="parTrans" cxnId="{8E13874A-667D-49C8-AE83-125151F6BEEC}">
      <dgm:prSet custT="1"/>
      <dgm:spPr/>
      <dgm:t>
        <a:bodyPr/>
        <a:lstStyle/>
        <a:p>
          <a:endParaRPr lang="en-US" sz="900"/>
        </a:p>
      </dgm:t>
    </dgm:pt>
    <dgm:pt modelId="{54F2324B-9E8E-466F-9361-F9134718D6FF}" type="sibTrans" cxnId="{8E13874A-667D-49C8-AE83-125151F6BEEC}">
      <dgm:prSet/>
      <dgm:spPr/>
      <dgm:t>
        <a:bodyPr/>
        <a:lstStyle/>
        <a:p>
          <a:endParaRPr lang="en-US" sz="3200"/>
        </a:p>
      </dgm:t>
    </dgm:pt>
    <dgm:pt modelId="{28859B5A-0B83-443C-ADF5-F37810593438}" type="pres">
      <dgm:prSet presAssocID="{E39CACED-4357-4F54-B362-1BBD963F952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6F7935D-6530-4593-AE5C-8F4559AFEF00}" type="pres">
      <dgm:prSet presAssocID="{DE83BED6-72D2-40AA-AEC0-E00DB39B7779}" presName="hierRoot1" presStyleCnt="0">
        <dgm:presLayoutVars>
          <dgm:hierBranch val="init"/>
        </dgm:presLayoutVars>
      </dgm:prSet>
      <dgm:spPr/>
    </dgm:pt>
    <dgm:pt modelId="{83F13196-00FF-420F-91B3-7265F9DA2E35}" type="pres">
      <dgm:prSet presAssocID="{DE83BED6-72D2-40AA-AEC0-E00DB39B7779}" presName="rootComposite1" presStyleCnt="0"/>
      <dgm:spPr/>
    </dgm:pt>
    <dgm:pt modelId="{38BA7490-6ACB-4B33-883C-6FA120FC9D65}" type="pres">
      <dgm:prSet presAssocID="{DE83BED6-72D2-40AA-AEC0-E00DB39B7779}" presName="rootText1" presStyleLbl="node0" presStyleIdx="0" presStyleCnt="1" custScaleX="172982" custLinFactNeighborY="-3428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0577D9-CE59-4684-96DE-28BAE8831EA2}" type="pres">
      <dgm:prSet presAssocID="{DE83BED6-72D2-40AA-AEC0-E00DB39B7779}" presName="rootConnector1" presStyleLbl="node1" presStyleIdx="0" presStyleCnt="0"/>
      <dgm:spPr/>
      <dgm:t>
        <a:bodyPr/>
        <a:lstStyle/>
        <a:p>
          <a:endParaRPr lang="en-US"/>
        </a:p>
      </dgm:t>
    </dgm:pt>
    <dgm:pt modelId="{7CEDCA83-5FB1-4912-AF43-4BFEBFF2F37F}" type="pres">
      <dgm:prSet presAssocID="{DE83BED6-72D2-40AA-AEC0-E00DB39B7779}" presName="hierChild2" presStyleCnt="0"/>
      <dgm:spPr/>
    </dgm:pt>
    <dgm:pt modelId="{FFA55980-77AF-44D0-A3F7-3BC269961AEC}" type="pres">
      <dgm:prSet presAssocID="{A60FFF55-2885-42D8-80AE-7C93D2F114D2}" presName="Name37" presStyleLbl="parChTrans1D2" presStyleIdx="0" presStyleCnt="3"/>
      <dgm:spPr/>
      <dgm:t>
        <a:bodyPr/>
        <a:lstStyle/>
        <a:p>
          <a:endParaRPr lang="en-US"/>
        </a:p>
      </dgm:t>
    </dgm:pt>
    <dgm:pt modelId="{00081117-45A1-413A-B1E7-872F21D2B3AC}" type="pres">
      <dgm:prSet presAssocID="{F71B3521-3C56-4052-BCD1-EA1D3EC6C481}" presName="hierRoot2" presStyleCnt="0">
        <dgm:presLayoutVars>
          <dgm:hierBranch val="init"/>
        </dgm:presLayoutVars>
      </dgm:prSet>
      <dgm:spPr/>
    </dgm:pt>
    <dgm:pt modelId="{04D54B35-6050-4549-B9DB-88983911643A}" type="pres">
      <dgm:prSet presAssocID="{F71B3521-3C56-4052-BCD1-EA1D3EC6C481}" presName="rootComposite" presStyleCnt="0"/>
      <dgm:spPr/>
    </dgm:pt>
    <dgm:pt modelId="{029320F6-83FB-4A89-9054-D9E9E12EE9BC}" type="pres">
      <dgm:prSet presAssocID="{F71B3521-3C56-4052-BCD1-EA1D3EC6C481}" presName="rootText" presStyleLbl="node2" presStyleIdx="0" presStyleCnt="3" custScaleX="14022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091A536-36A1-4130-9339-8B801A1F2803}" type="pres">
      <dgm:prSet presAssocID="{F71B3521-3C56-4052-BCD1-EA1D3EC6C481}" presName="rootConnector" presStyleLbl="node2" presStyleIdx="0" presStyleCnt="3"/>
      <dgm:spPr/>
      <dgm:t>
        <a:bodyPr/>
        <a:lstStyle/>
        <a:p>
          <a:endParaRPr lang="en-US"/>
        </a:p>
      </dgm:t>
    </dgm:pt>
    <dgm:pt modelId="{FF10DB19-2D38-4AA7-9618-B663B1423350}" type="pres">
      <dgm:prSet presAssocID="{F71B3521-3C56-4052-BCD1-EA1D3EC6C481}" presName="hierChild4" presStyleCnt="0"/>
      <dgm:spPr/>
    </dgm:pt>
    <dgm:pt modelId="{AC2F14F4-F80C-499C-898D-658D05F28B49}" type="pres">
      <dgm:prSet presAssocID="{43F9BBB7-7A45-4719-B812-E36462539D72}" presName="Name37" presStyleLbl="parChTrans1D3" presStyleIdx="0" presStyleCnt="8"/>
      <dgm:spPr/>
      <dgm:t>
        <a:bodyPr/>
        <a:lstStyle/>
        <a:p>
          <a:endParaRPr lang="en-US"/>
        </a:p>
      </dgm:t>
    </dgm:pt>
    <dgm:pt modelId="{4CBFBE2A-E49D-4A7B-ADC8-03FEEFC476A9}" type="pres">
      <dgm:prSet presAssocID="{52326B99-223E-4164-90D7-189BFAB66F0A}" presName="hierRoot2" presStyleCnt="0">
        <dgm:presLayoutVars>
          <dgm:hierBranch val="init"/>
        </dgm:presLayoutVars>
      </dgm:prSet>
      <dgm:spPr/>
    </dgm:pt>
    <dgm:pt modelId="{611245A0-6B2F-4851-A3A4-48E2F2F08A53}" type="pres">
      <dgm:prSet presAssocID="{52326B99-223E-4164-90D7-189BFAB66F0A}" presName="rootComposite" presStyleCnt="0"/>
      <dgm:spPr/>
    </dgm:pt>
    <dgm:pt modelId="{5A63B776-8325-407C-949F-EF4E998D6E29}" type="pres">
      <dgm:prSet presAssocID="{52326B99-223E-4164-90D7-189BFAB66F0A}" presName="rootText" presStyleLbl="node3" presStyleIdx="0" presStyleCnt="8" custScaleY="1707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A2A6560-D5A2-4CB4-B870-C2758A3902AA}" type="pres">
      <dgm:prSet presAssocID="{52326B99-223E-4164-90D7-189BFAB66F0A}" presName="rootConnector" presStyleLbl="node3" presStyleIdx="0" presStyleCnt="8"/>
      <dgm:spPr/>
      <dgm:t>
        <a:bodyPr/>
        <a:lstStyle/>
        <a:p>
          <a:endParaRPr lang="en-US"/>
        </a:p>
      </dgm:t>
    </dgm:pt>
    <dgm:pt modelId="{5652B142-197D-4B9C-A5CA-3F981E5F4F94}" type="pres">
      <dgm:prSet presAssocID="{52326B99-223E-4164-90D7-189BFAB66F0A}" presName="hierChild4" presStyleCnt="0"/>
      <dgm:spPr/>
    </dgm:pt>
    <dgm:pt modelId="{2A285E9D-B462-4456-8ED7-DDC2E8C76837}" type="pres">
      <dgm:prSet presAssocID="{A452153C-2C8E-4105-89D1-F2A798AB2705}" presName="Name37" presStyleLbl="parChTrans1D4" presStyleIdx="0" presStyleCnt="9"/>
      <dgm:spPr/>
      <dgm:t>
        <a:bodyPr/>
        <a:lstStyle/>
        <a:p>
          <a:endParaRPr lang="en-US"/>
        </a:p>
      </dgm:t>
    </dgm:pt>
    <dgm:pt modelId="{A0E18524-3B09-4688-9F9F-87AB30720A98}" type="pres">
      <dgm:prSet presAssocID="{E451B676-0CAC-406F-89E6-916AC8C8C93A}" presName="hierRoot2" presStyleCnt="0">
        <dgm:presLayoutVars>
          <dgm:hierBranch val="init"/>
        </dgm:presLayoutVars>
      </dgm:prSet>
      <dgm:spPr/>
    </dgm:pt>
    <dgm:pt modelId="{C01B0461-EEC3-4E13-A59D-BE7F52E75A87}" type="pres">
      <dgm:prSet presAssocID="{E451B676-0CAC-406F-89E6-916AC8C8C93A}" presName="rootComposite" presStyleCnt="0"/>
      <dgm:spPr/>
    </dgm:pt>
    <dgm:pt modelId="{EC11BC86-6BAE-45D5-BE76-F78A05459AB0}" type="pres">
      <dgm:prSet presAssocID="{E451B676-0CAC-406F-89E6-916AC8C8C93A}" presName="rootText" presStyleLbl="node4" presStyleIdx="0" presStyleCnt="9" custScaleY="1603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904FC6-72D9-49E0-9284-1C5AB229A040}" type="pres">
      <dgm:prSet presAssocID="{E451B676-0CAC-406F-89E6-916AC8C8C93A}" presName="rootConnector" presStyleLbl="node4" presStyleIdx="0" presStyleCnt="9"/>
      <dgm:spPr/>
      <dgm:t>
        <a:bodyPr/>
        <a:lstStyle/>
        <a:p>
          <a:endParaRPr lang="en-US"/>
        </a:p>
      </dgm:t>
    </dgm:pt>
    <dgm:pt modelId="{B1958780-B180-4D09-813D-3FFCFB6D6A41}" type="pres">
      <dgm:prSet presAssocID="{E451B676-0CAC-406F-89E6-916AC8C8C93A}" presName="hierChild4" presStyleCnt="0"/>
      <dgm:spPr/>
    </dgm:pt>
    <dgm:pt modelId="{A514FABF-9D63-4365-8AA0-DAE0293AA92A}" type="pres">
      <dgm:prSet presAssocID="{E451B676-0CAC-406F-89E6-916AC8C8C93A}" presName="hierChild5" presStyleCnt="0"/>
      <dgm:spPr/>
    </dgm:pt>
    <dgm:pt modelId="{DA2BD802-BF83-415A-AED6-A8AEE65C718B}" type="pres">
      <dgm:prSet presAssocID="{688FDE0E-B158-4D2A-BD17-E32A7E92A590}" presName="Name37" presStyleLbl="parChTrans1D4" presStyleIdx="1" presStyleCnt="9"/>
      <dgm:spPr/>
      <dgm:t>
        <a:bodyPr/>
        <a:lstStyle/>
        <a:p>
          <a:endParaRPr lang="en-US"/>
        </a:p>
      </dgm:t>
    </dgm:pt>
    <dgm:pt modelId="{87CE19AB-47C5-400D-8A20-2D627BDEC313}" type="pres">
      <dgm:prSet presAssocID="{810B1EE7-ADA7-4515-A7BC-7AA700C89083}" presName="hierRoot2" presStyleCnt="0">
        <dgm:presLayoutVars>
          <dgm:hierBranch val="init"/>
        </dgm:presLayoutVars>
      </dgm:prSet>
      <dgm:spPr/>
    </dgm:pt>
    <dgm:pt modelId="{C7CB3C31-96F3-45F2-9490-029EC35187A7}" type="pres">
      <dgm:prSet presAssocID="{810B1EE7-ADA7-4515-A7BC-7AA700C89083}" presName="rootComposite" presStyleCnt="0"/>
      <dgm:spPr/>
    </dgm:pt>
    <dgm:pt modelId="{C7CAA8CC-E8AB-4416-AC75-95F821E67A5E}" type="pres">
      <dgm:prSet presAssocID="{810B1EE7-ADA7-4515-A7BC-7AA700C89083}" presName="rootText" presStyleLbl="node4" presStyleIdx="1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B63BB0F-846E-4658-8317-2D639E924898}" type="pres">
      <dgm:prSet presAssocID="{810B1EE7-ADA7-4515-A7BC-7AA700C89083}" presName="rootConnector" presStyleLbl="node4" presStyleIdx="1" presStyleCnt="9"/>
      <dgm:spPr/>
      <dgm:t>
        <a:bodyPr/>
        <a:lstStyle/>
        <a:p>
          <a:endParaRPr lang="en-US"/>
        </a:p>
      </dgm:t>
    </dgm:pt>
    <dgm:pt modelId="{5DF7D52E-E6F0-4B9B-B745-37DDD18BC703}" type="pres">
      <dgm:prSet presAssocID="{810B1EE7-ADA7-4515-A7BC-7AA700C89083}" presName="hierChild4" presStyleCnt="0"/>
      <dgm:spPr/>
    </dgm:pt>
    <dgm:pt modelId="{1D73D43A-92BE-4D5C-9170-CC170013A0BE}" type="pres">
      <dgm:prSet presAssocID="{810B1EE7-ADA7-4515-A7BC-7AA700C89083}" presName="hierChild5" presStyleCnt="0"/>
      <dgm:spPr/>
    </dgm:pt>
    <dgm:pt modelId="{478812A8-6644-4BDA-9BD5-4197CB329005}" type="pres">
      <dgm:prSet presAssocID="{52326B99-223E-4164-90D7-189BFAB66F0A}" presName="hierChild5" presStyleCnt="0"/>
      <dgm:spPr/>
    </dgm:pt>
    <dgm:pt modelId="{DD6034CB-E414-4170-8B00-5686E0E374AF}" type="pres">
      <dgm:prSet presAssocID="{7B7C413D-1FCC-4D9D-9F1C-BACFFAFF07D7}" presName="Name37" presStyleLbl="parChTrans1D3" presStyleIdx="1" presStyleCnt="8"/>
      <dgm:spPr/>
      <dgm:t>
        <a:bodyPr/>
        <a:lstStyle/>
        <a:p>
          <a:endParaRPr lang="en-US"/>
        </a:p>
      </dgm:t>
    </dgm:pt>
    <dgm:pt modelId="{9D8527AD-E679-4383-8B4C-CC91C60E6EE1}" type="pres">
      <dgm:prSet presAssocID="{E4F26A9D-442B-4CF3-B8A7-61AD103578AA}" presName="hierRoot2" presStyleCnt="0">
        <dgm:presLayoutVars>
          <dgm:hierBranch val="init"/>
        </dgm:presLayoutVars>
      </dgm:prSet>
      <dgm:spPr/>
    </dgm:pt>
    <dgm:pt modelId="{1190FBA8-42EB-46E4-8E8B-EB5519E379A6}" type="pres">
      <dgm:prSet presAssocID="{E4F26A9D-442B-4CF3-B8A7-61AD103578AA}" presName="rootComposite" presStyleCnt="0"/>
      <dgm:spPr/>
    </dgm:pt>
    <dgm:pt modelId="{63FC501E-E654-41F7-BA6A-0BF70B2D3C70}" type="pres">
      <dgm:prSet presAssocID="{E4F26A9D-442B-4CF3-B8A7-61AD103578AA}" presName="rootText" presStyleLbl="node3" presStyleIdx="1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C7A89E5-BCC5-49F8-9C2E-B40770C21629}" type="pres">
      <dgm:prSet presAssocID="{E4F26A9D-442B-4CF3-B8A7-61AD103578AA}" presName="rootConnector" presStyleLbl="node3" presStyleIdx="1" presStyleCnt="8"/>
      <dgm:spPr/>
      <dgm:t>
        <a:bodyPr/>
        <a:lstStyle/>
        <a:p>
          <a:endParaRPr lang="en-US"/>
        </a:p>
      </dgm:t>
    </dgm:pt>
    <dgm:pt modelId="{D826AFC1-BBC9-410E-B541-8B98E3D3FD15}" type="pres">
      <dgm:prSet presAssocID="{E4F26A9D-442B-4CF3-B8A7-61AD103578AA}" presName="hierChild4" presStyleCnt="0"/>
      <dgm:spPr/>
    </dgm:pt>
    <dgm:pt modelId="{7ECEA8CD-85C0-4A0E-A40C-3A0438CC7C86}" type="pres">
      <dgm:prSet presAssocID="{7E5C29F3-5719-4E17-8CBB-86C58D1C392D}" presName="Name37" presStyleLbl="parChTrans1D4" presStyleIdx="2" presStyleCnt="9"/>
      <dgm:spPr/>
      <dgm:t>
        <a:bodyPr/>
        <a:lstStyle/>
        <a:p>
          <a:endParaRPr lang="en-US"/>
        </a:p>
      </dgm:t>
    </dgm:pt>
    <dgm:pt modelId="{87812549-AABF-4D73-9A8B-37EBF8EF116C}" type="pres">
      <dgm:prSet presAssocID="{7671B5D7-6326-4F5B-A653-3CAF4F85C317}" presName="hierRoot2" presStyleCnt="0">
        <dgm:presLayoutVars>
          <dgm:hierBranch val="init"/>
        </dgm:presLayoutVars>
      </dgm:prSet>
      <dgm:spPr/>
    </dgm:pt>
    <dgm:pt modelId="{3415D6A5-33D8-42A5-AD9D-A1E1F4776985}" type="pres">
      <dgm:prSet presAssocID="{7671B5D7-6326-4F5B-A653-3CAF4F85C317}" presName="rootComposite" presStyleCnt="0"/>
      <dgm:spPr/>
    </dgm:pt>
    <dgm:pt modelId="{F262B25E-D781-4D44-82CD-CC9D501578F2}" type="pres">
      <dgm:prSet presAssocID="{7671B5D7-6326-4F5B-A653-3CAF4F85C317}" presName="rootText" presStyleLbl="node4" presStyleIdx="2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04D762D-C028-4DB9-B788-4204A181D9A3}" type="pres">
      <dgm:prSet presAssocID="{7671B5D7-6326-4F5B-A653-3CAF4F85C317}" presName="rootConnector" presStyleLbl="node4" presStyleIdx="2" presStyleCnt="9"/>
      <dgm:spPr/>
      <dgm:t>
        <a:bodyPr/>
        <a:lstStyle/>
        <a:p>
          <a:endParaRPr lang="en-US"/>
        </a:p>
      </dgm:t>
    </dgm:pt>
    <dgm:pt modelId="{2FEEEB36-A297-473C-B198-562323531387}" type="pres">
      <dgm:prSet presAssocID="{7671B5D7-6326-4F5B-A653-3CAF4F85C317}" presName="hierChild4" presStyleCnt="0"/>
      <dgm:spPr/>
    </dgm:pt>
    <dgm:pt modelId="{A33A5E1E-951D-4041-9E5F-120E0E95505E}" type="pres">
      <dgm:prSet presAssocID="{7671B5D7-6326-4F5B-A653-3CAF4F85C317}" presName="hierChild5" presStyleCnt="0"/>
      <dgm:spPr/>
    </dgm:pt>
    <dgm:pt modelId="{610B7A79-132C-4674-BEC6-DB17C8FE71CA}" type="pres">
      <dgm:prSet presAssocID="{9C6E6B69-2180-480A-A2A4-BBF946CFBF3C}" presName="Name37" presStyleLbl="parChTrans1D4" presStyleIdx="3" presStyleCnt="9"/>
      <dgm:spPr/>
      <dgm:t>
        <a:bodyPr/>
        <a:lstStyle/>
        <a:p>
          <a:endParaRPr lang="en-US"/>
        </a:p>
      </dgm:t>
    </dgm:pt>
    <dgm:pt modelId="{EFF9300A-F41C-447E-9B35-8848F9226025}" type="pres">
      <dgm:prSet presAssocID="{3120464E-6024-475A-B833-ED05EB9364F6}" presName="hierRoot2" presStyleCnt="0">
        <dgm:presLayoutVars>
          <dgm:hierBranch val="init"/>
        </dgm:presLayoutVars>
      </dgm:prSet>
      <dgm:spPr/>
    </dgm:pt>
    <dgm:pt modelId="{586FCB4C-1C23-4C55-A4FC-2B9CB27DA8D2}" type="pres">
      <dgm:prSet presAssocID="{3120464E-6024-475A-B833-ED05EB9364F6}" presName="rootComposite" presStyleCnt="0"/>
      <dgm:spPr/>
    </dgm:pt>
    <dgm:pt modelId="{1B48FE02-8066-4510-AB7C-F56BD51BDF4B}" type="pres">
      <dgm:prSet presAssocID="{3120464E-6024-475A-B833-ED05EB9364F6}" presName="rootText" presStyleLbl="node4" presStyleIdx="3" presStyleCnt="9" custScaleY="15093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175C515-C5ED-4B79-BB93-B05E49C0C9B4}" type="pres">
      <dgm:prSet presAssocID="{3120464E-6024-475A-B833-ED05EB9364F6}" presName="rootConnector" presStyleLbl="node4" presStyleIdx="3" presStyleCnt="9"/>
      <dgm:spPr/>
      <dgm:t>
        <a:bodyPr/>
        <a:lstStyle/>
        <a:p>
          <a:endParaRPr lang="en-US"/>
        </a:p>
      </dgm:t>
    </dgm:pt>
    <dgm:pt modelId="{79FB3EC3-D2A3-4A0E-86AC-9457964357E2}" type="pres">
      <dgm:prSet presAssocID="{3120464E-6024-475A-B833-ED05EB9364F6}" presName="hierChild4" presStyleCnt="0"/>
      <dgm:spPr/>
    </dgm:pt>
    <dgm:pt modelId="{7A17123B-F7FA-4082-897A-3A81A00B25F8}" type="pres">
      <dgm:prSet presAssocID="{3120464E-6024-475A-B833-ED05EB9364F6}" presName="hierChild5" presStyleCnt="0"/>
      <dgm:spPr/>
    </dgm:pt>
    <dgm:pt modelId="{7A919AB5-DA74-427B-B2CE-A7E19C5F2F89}" type="pres">
      <dgm:prSet presAssocID="{E4F26A9D-442B-4CF3-B8A7-61AD103578AA}" presName="hierChild5" presStyleCnt="0"/>
      <dgm:spPr/>
    </dgm:pt>
    <dgm:pt modelId="{4C90B3C0-311B-4985-BF2C-4868A2BA2053}" type="pres">
      <dgm:prSet presAssocID="{5C8FC595-5907-4E6D-A000-F6203E0A6DB2}" presName="Name37" presStyleLbl="parChTrans1D3" presStyleIdx="2" presStyleCnt="8"/>
      <dgm:spPr/>
      <dgm:t>
        <a:bodyPr/>
        <a:lstStyle/>
        <a:p>
          <a:endParaRPr lang="en-US"/>
        </a:p>
      </dgm:t>
    </dgm:pt>
    <dgm:pt modelId="{25704ECB-93D8-4AAC-B943-6E7B88880350}" type="pres">
      <dgm:prSet presAssocID="{F0813E2C-4806-4C65-8B5D-B3CAA55AB4B6}" presName="hierRoot2" presStyleCnt="0">
        <dgm:presLayoutVars>
          <dgm:hierBranch val="init"/>
        </dgm:presLayoutVars>
      </dgm:prSet>
      <dgm:spPr/>
    </dgm:pt>
    <dgm:pt modelId="{1F5B4E8F-4078-402B-8BF9-03AF95F29C06}" type="pres">
      <dgm:prSet presAssocID="{F0813E2C-4806-4C65-8B5D-B3CAA55AB4B6}" presName="rootComposite" presStyleCnt="0"/>
      <dgm:spPr/>
    </dgm:pt>
    <dgm:pt modelId="{7E66F63D-8FA6-42BB-A62A-C349B7EA69C6}" type="pres">
      <dgm:prSet presAssocID="{F0813E2C-4806-4C65-8B5D-B3CAA55AB4B6}" presName="rootText" presStyleLbl="node3" presStyleIdx="2" presStyleCnt="8" custScaleY="1549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10B860-36A0-4961-8079-9E6BE51EC74E}" type="pres">
      <dgm:prSet presAssocID="{F0813E2C-4806-4C65-8B5D-B3CAA55AB4B6}" presName="rootConnector" presStyleLbl="node3" presStyleIdx="2" presStyleCnt="8"/>
      <dgm:spPr/>
      <dgm:t>
        <a:bodyPr/>
        <a:lstStyle/>
        <a:p>
          <a:endParaRPr lang="en-US"/>
        </a:p>
      </dgm:t>
    </dgm:pt>
    <dgm:pt modelId="{A346BA09-C0FB-44FE-94ED-E84F1458A182}" type="pres">
      <dgm:prSet presAssocID="{F0813E2C-4806-4C65-8B5D-B3CAA55AB4B6}" presName="hierChild4" presStyleCnt="0"/>
      <dgm:spPr/>
    </dgm:pt>
    <dgm:pt modelId="{3BCCE23A-CC94-4B5F-B13D-CB73BFAE0403}" type="pres">
      <dgm:prSet presAssocID="{4ED415F9-59B2-4644-8650-A4A52C08AAF1}" presName="Name37" presStyleLbl="parChTrans1D4" presStyleIdx="4" presStyleCnt="9"/>
      <dgm:spPr/>
      <dgm:t>
        <a:bodyPr/>
        <a:lstStyle/>
        <a:p>
          <a:endParaRPr lang="en-US"/>
        </a:p>
      </dgm:t>
    </dgm:pt>
    <dgm:pt modelId="{DD13E5E2-1B9C-48EC-990C-B31E25E119BE}" type="pres">
      <dgm:prSet presAssocID="{2024CE07-0840-4AFA-A285-8A332F9F0084}" presName="hierRoot2" presStyleCnt="0">
        <dgm:presLayoutVars>
          <dgm:hierBranch val="init"/>
        </dgm:presLayoutVars>
      </dgm:prSet>
      <dgm:spPr/>
    </dgm:pt>
    <dgm:pt modelId="{93488B8D-5BB0-4299-8DA0-2B61FC1C7E27}" type="pres">
      <dgm:prSet presAssocID="{2024CE07-0840-4AFA-A285-8A332F9F0084}" presName="rootComposite" presStyleCnt="0"/>
      <dgm:spPr/>
    </dgm:pt>
    <dgm:pt modelId="{A45277E3-0420-4505-9B32-E8C33D91C7D0}" type="pres">
      <dgm:prSet presAssocID="{2024CE07-0840-4AFA-A285-8A332F9F0084}" presName="rootText" presStyleLbl="node4" presStyleIdx="4" presStyleCnt="9" custScaleX="81815" custScaleY="1549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78837BE-515B-4E24-ACD3-D8817605E4AB}" type="pres">
      <dgm:prSet presAssocID="{2024CE07-0840-4AFA-A285-8A332F9F0084}" presName="rootConnector" presStyleLbl="node4" presStyleIdx="4" presStyleCnt="9"/>
      <dgm:spPr/>
      <dgm:t>
        <a:bodyPr/>
        <a:lstStyle/>
        <a:p>
          <a:endParaRPr lang="en-US"/>
        </a:p>
      </dgm:t>
    </dgm:pt>
    <dgm:pt modelId="{ABB5CCF0-7395-4275-BC58-78BEDCAA79DD}" type="pres">
      <dgm:prSet presAssocID="{2024CE07-0840-4AFA-A285-8A332F9F0084}" presName="hierChild4" presStyleCnt="0"/>
      <dgm:spPr/>
    </dgm:pt>
    <dgm:pt modelId="{F3540024-B84F-40BC-B39D-B662F19D393D}" type="pres">
      <dgm:prSet presAssocID="{2024CE07-0840-4AFA-A285-8A332F9F0084}" presName="hierChild5" presStyleCnt="0"/>
      <dgm:spPr/>
    </dgm:pt>
    <dgm:pt modelId="{B02AF2FA-B901-4EBD-A0F4-874AF10956EF}" type="pres">
      <dgm:prSet presAssocID="{17043636-82E3-4A58-BD54-255DAE385AA4}" presName="Name37" presStyleLbl="parChTrans1D4" presStyleIdx="5" presStyleCnt="9"/>
      <dgm:spPr/>
      <dgm:t>
        <a:bodyPr/>
        <a:lstStyle/>
        <a:p>
          <a:endParaRPr lang="en-US"/>
        </a:p>
      </dgm:t>
    </dgm:pt>
    <dgm:pt modelId="{72CDDCAC-BB36-4AAE-B3BF-1B846EA96B34}" type="pres">
      <dgm:prSet presAssocID="{7ACFD0D1-A2F7-4D8B-B016-D6307FF6BC97}" presName="hierRoot2" presStyleCnt="0">
        <dgm:presLayoutVars>
          <dgm:hierBranch val="init"/>
        </dgm:presLayoutVars>
      </dgm:prSet>
      <dgm:spPr/>
    </dgm:pt>
    <dgm:pt modelId="{31FBD8F7-91CD-43D0-BAA1-D10C1D1BCFB7}" type="pres">
      <dgm:prSet presAssocID="{7ACFD0D1-A2F7-4D8B-B016-D6307FF6BC97}" presName="rootComposite" presStyleCnt="0"/>
      <dgm:spPr/>
    </dgm:pt>
    <dgm:pt modelId="{619A917E-2FE0-4D54-B500-A6523829D53A}" type="pres">
      <dgm:prSet presAssocID="{7ACFD0D1-A2F7-4D8B-B016-D6307FF6BC97}" presName="rootText" presStyleLbl="node4" presStyleIdx="5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F899FC6-68C7-4D71-8AE0-335BD5724311}" type="pres">
      <dgm:prSet presAssocID="{7ACFD0D1-A2F7-4D8B-B016-D6307FF6BC97}" presName="rootConnector" presStyleLbl="node4" presStyleIdx="5" presStyleCnt="9"/>
      <dgm:spPr/>
      <dgm:t>
        <a:bodyPr/>
        <a:lstStyle/>
        <a:p>
          <a:endParaRPr lang="en-US"/>
        </a:p>
      </dgm:t>
    </dgm:pt>
    <dgm:pt modelId="{FD127D19-4418-4D3A-BC7A-07E55F66BE31}" type="pres">
      <dgm:prSet presAssocID="{7ACFD0D1-A2F7-4D8B-B016-D6307FF6BC97}" presName="hierChild4" presStyleCnt="0"/>
      <dgm:spPr/>
    </dgm:pt>
    <dgm:pt modelId="{D642D2B4-3B37-47B7-9C6D-BEC85B949A6B}" type="pres">
      <dgm:prSet presAssocID="{7ACFD0D1-A2F7-4D8B-B016-D6307FF6BC97}" presName="hierChild5" presStyleCnt="0"/>
      <dgm:spPr/>
    </dgm:pt>
    <dgm:pt modelId="{53FCCA26-0AD4-4E48-8CE6-79774A255829}" type="pres">
      <dgm:prSet presAssocID="{F0813E2C-4806-4C65-8B5D-B3CAA55AB4B6}" presName="hierChild5" presStyleCnt="0"/>
      <dgm:spPr/>
    </dgm:pt>
    <dgm:pt modelId="{5547612A-B87B-4711-B96B-893E928EC160}" type="pres">
      <dgm:prSet presAssocID="{F71B3521-3C56-4052-BCD1-EA1D3EC6C481}" presName="hierChild5" presStyleCnt="0"/>
      <dgm:spPr/>
    </dgm:pt>
    <dgm:pt modelId="{F43736C3-DC97-41E9-A92D-0C87CF3D4CE0}" type="pres">
      <dgm:prSet presAssocID="{BBB07DC0-FEB0-41A7-994C-B6C0577FD4BB}" presName="Name37" presStyleLbl="parChTrans1D2" presStyleIdx="1" presStyleCnt="3"/>
      <dgm:spPr/>
      <dgm:t>
        <a:bodyPr/>
        <a:lstStyle/>
        <a:p>
          <a:endParaRPr lang="en-US"/>
        </a:p>
      </dgm:t>
    </dgm:pt>
    <dgm:pt modelId="{BED3E687-68AB-403D-B426-F32C7E996598}" type="pres">
      <dgm:prSet presAssocID="{94FACFF2-580F-4E03-A72E-6A78D3F61A0D}" presName="hierRoot2" presStyleCnt="0">
        <dgm:presLayoutVars>
          <dgm:hierBranch val="init"/>
        </dgm:presLayoutVars>
      </dgm:prSet>
      <dgm:spPr/>
    </dgm:pt>
    <dgm:pt modelId="{74761613-E4D7-4D7F-B11A-FA9A8563FEDB}" type="pres">
      <dgm:prSet presAssocID="{94FACFF2-580F-4E03-A72E-6A78D3F61A0D}" presName="rootComposite" presStyleCnt="0"/>
      <dgm:spPr/>
    </dgm:pt>
    <dgm:pt modelId="{8C3924C6-95D7-4CDA-A998-F6CD342F1665}" type="pres">
      <dgm:prSet presAssocID="{94FACFF2-580F-4E03-A72E-6A78D3F61A0D}" presName="rootText" presStyleLbl="node2" presStyleIdx="1" presStyleCnt="3" custScaleX="11677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6FD241-CC1D-4310-89BD-442A5810C12B}" type="pres">
      <dgm:prSet presAssocID="{94FACFF2-580F-4E03-A72E-6A78D3F61A0D}" presName="rootConnector" presStyleLbl="node2" presStyleIdx="1" presStyleCnt="3"/>
      <dgm:spPr/>
      <dgm:t>
        <a:bodyPr/>
        <a:lstStyle/>
        <a:p>
          <a:endParaRPr lang="en-US"/>
        </a:p>
      </dgm:t>
    </dgm:pt>
    <dgm:pt modelId="{9D6BDA83-545E-4F18-B532-2B1183EDC461}" type="pres">
      <dgm:prSet presAssocID="{94FACFF2-580F-4E03-A72E-6A78D3F61A0D}" presName="hierChild4" presStyleCnt="0"/>
      <dgm:spPr/>
    </dgm:pt>
    <dgm:pt modelId="{03B7BB75-3081-4A5F-AE84-D0A5017A250E}" type="pres">
      <dgm:prSet presAssocID="{D0A1B840-787D-4ED8-9FA8-82EFBF4A16ED}" presName="Name37" presStyleLbl="parChTrans1D3" presStyleIdx="3" presStyleCnt="8"/>
      <dgm:spPr/>
      <dgm:t>
        <a:bodyPr/>
        <a:lstStyle/>
        <a:p>
          <a:endParaRPr lang="en-US"/>
        </a:p>
      </dgm:t>
    </dgm:pt>
    <dgm:pt modelId="{AAE82C01-9B1E-4BDB-9AA6-F49DF2A6D565}" type="pres">
      <dgm:prSet presAssocID="{930425C0-40A6-483D-B20A-ADF47FECA268}" presName="hierRoot2" presStyleCnt="0">
        <dgm:presLayoutVars>
          <dgm:hierBranch val="init"/>
        </dgm:presLayoutVars>
      </dgm:prSet>
      <dgm:spPr/>
    </dgm:pt>
    <dgm:pt modelId="{789F8C9E-6D9D-4A5F-B33E-CF2CDDC0FE07}" type="pres">
      <dgm:prSet presAssocID="{930425C0-40A6-483D-B20A-ADF47FECA268}" presName="rootComposite" presStyleCnt="0"/>
      <dgm:spPr/>
    </dgm:pt>
    <dgm:pt modelId="{5677D944-029C-484C-80A5-13BC10A104E4}" type="pres">
      <dgm:prSet presAssocID="{930425C0-40A6-483D-B20A-ADF47FECA268}" presName="rootText" presStyleLbl="node3" presStyleIdx="3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D8561A-5A8E-4CBE-8FC6-607A83CFC3C4}" type="pres">
      <dgm:prSet presAssocID="{930425C0-40A6-483D-B20A-ADF47FECA268}" presName="rootConnector" presStyleLbl="node3" presStyleIdx="3" presStyleCnt="8"/>
      <dgm:spPr/>
      <dgm:t>
        <a:bodyPr/>
        <a:lstStyle/>
        <a:p>
          <a:endParaRPr lang="en-US"/>
        </a:p>
      </dgm:t>
    </dgm:pt>
    <dgm:pt modelId="{3831CA35-AD51-4A69-83E3-FF0577D16A5E}" type="pres">
      <dgm:prSet presAssocID="{930425C0-40A6-483D-B20A-ADF47FECA268}" presName="hierChild4" presStyleCnt="0"/>
      <dgm:spPr/>
    </dgm:pt>
    <dgm:pt modelId="{82A76FF6-95A5-4DEA-B163-853D1B7CC810}" type="pres">
      <dgm:prSet presAssocID="{930425C0-40A6-483D-B20A-ADF47FECA268}" presName="hierChild5" presStyleCnt="0"/>
      <dgm:spPr/>
    </dgm:pt>
    <dgm:pt modelId="{F0E31743-868F-406B-876C-6B11BD573394}" type="pres">
      <dgm:prSet presAssocID="{AC66B097-9A77-4B4E-88EB-CCA6711BE3A9}" presName="Name37" presStyleLbl="parChTrans1D3" presStyleIdx="4" presStyleCnt="8"/>
      <dgm:spPr/>
      <dgm:t>
        <a:bodyPr/>
        <a:lstStyle/>
        <a:p>
          <a:endParaRPr lang="en-US"/>
        </a:p>
      </dgm:t>
    </dgm:pt>
    <dgm:pt modelId="{E6309739-1F4D-4497-827A-E880C3DCA78F}" type="pres">
      <dgm:prSet presAssocID="{1026319C-D65E-47DE-B68C-CB11FC289573}" presName="hierRoot2" presStyleCnt="0">
        <dgm:presLayoutVars>
          <dgm:hierBranch val="init"/>
        </dgm:presLayoutVars>
      </dgm:prSet>
      <dgm:spPr/>
    </dgm:pt>
    <dgm:pt modelId="{66E01AAD-E40B-443E-A412-2B238AC2E416}" type="pres">
      <dgm:prSet presAssocID="{1026319C-D65E-47DE-B68C-CB11FC289573}" presName="rootComposite" presStyleCnt="0"/>
      <dgm:spPr/>
    </dgm:pt>
    <dgm:pt modelId="{B29D70E0-3C5F-46EB-8055-DA38CAFC89E3}" type="pres">
      <dgm:prSet presAssocID="{1026319C-D65E-47DE-B68C-CB11FC289573}" presName="rootText" presStyleLbl="node3" presStyleIdx="4" presStyleCnt="8" custScaleX="113727" custScaleY="24237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16DE47-4E45-46F7-8F85-34A9EBE7EE9B}" type="pres">
      <dgm:prSet presAssocID="{1026319C-D65E-47DE-B68C-CB11FC289573}" presName="rootConnector" presStyleLbl="node3" presStyleIdx="4" presStyleCnt="8"/>
      <dgm:spPr/>
      <dgm:t>
        <a:bodyPr/>
        <a:lstStyle/>
        <a:p>
          <a:endParaRPr lang="en-US"/>
        </a:p>
      </dgm:t>
    </dgm:pt>
    <dgm:pt modelId="{6DF654DC-2FE0-4E06-B768-981E5096B814}" type="pres">
      <dgm:prSet presAssocID="{1026319C-D65E-47DE-B68C-CB11FC289573}" presName="hierChild4" presStyleCnt="0"/>
      <dgm:spPr/>
    </dgm:pt>
    <dgm:pt modelId="{0EDBE25F-D8CF-4E86-A4A2-A241FF863533}" type="pres">
      <dgm:prSet presAssocID="{1026319C-D65E-47DE-B68C-CB11FC289573}" presName="hierChild5" presStyleCnt="0"/>
      <dgm:spPr/>
    </dgm:pt>
    <dgm:pt modelId="{2A7675F5-2BBC-4E57-B900-715F59D6F9D8}" type="pres">
      <dgm:prSet presAssocID="{E66D0E20-5C3D-409D-809A-AF9EF574822C}" presName="Name37" presStyleLbl="parChTrans1D3" presStyleIdx="5" presStyleCnt="8"/>
      <dgm:spPr/>
      <dgm:t>
        <a:bodyPr/>
        <a:lstStyle/>
        <a:p>
          <a:endParaRPr lang="en-US"/>
        </a:p>
      </dgm:t>
    </dgm:pt>
    <dgm:pt modelId="{A634CCD9-7842-43F4-ADA7-3C411BE8E635}" type="pres">
      <dgm:prSet presAssocID="{B814C49C-8DAB-46CD-88C0-98D4B1FCF628}" presName="hierRoot2" presStyleCnt="0">
        <dgm:presLayoutVars>
          <dgm:hierBranch val="init"/>
        </dgm:presLayoutVars>
      </dgm:prSet>
      <dgm:spPr/>
    </dgm:pt>
    <dgm:pt modelId="{A4BA754F-913A-4181-ADB5-181FB8C05FF8}" type="pres">
      <dgm:prSet presAssocID="{B814C49C-8DAB-46CD-88C0-98D4B1FCF628}" presName="rootComposite" presStyleCnt="0"/>
      <dgm:spPr/>
    </dgm:pt>
    <dgm:pt modelId="{313ED6A2-462B-4141-834D-9A74299512E5}" type="pres">
      <dgm:prSet presAssocID="{B814C49C-8DAB-46CD-88C0-98D4B1FCF628}" presName="rootText" presStyleLbl="node3" presStyleIdx="5" presStyleCnt="8" custLinFactNeighborY="3781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E8E9C7-25A4-4E24-9CA9-CB63D43604DC}" type="pres">
      <dgm:prSet presAssocID="{B814C49C-8DAB-46CD-88C0-98D4B1FCF628}" presName="rootConnector" presStyleLbl="node3" presStyleIdx="5" presStyleCnt="8"/>
      <dgm:spPr/>
      <dgm:t>
        <a:bodyPr/>
        <a:lstStyle/>
        <a:p>
          <a:endParaRPr lang="en-US"/>
        </a:p>
      </dgm:t>
    </dgm:pt>
    <dgm:pt modelId="{78F9D844-8FE7-41F6-8F3A-CF84557DC90F}" type="pres">
      <dgm:prSet presAssocID="{B814C49C-8DAB-46CD-88C0-98D4B1FCF628}" presName="hierChild4" presStyleCnt="0"/>
      <dgm:spPr/>
    </dgm:pt>
    <dgm:pt modelId="{6949C889-9FDE-4745-9E32-1FB0017B7EB5}" type="pres">
      <dgm:prSet presAssocID="{B814C49C-8DAB-46CD-88C0-98D4B1FCF628}" presName="hierChild5" presStyleCnt="0"/>
      <dgm:spPr/>
    </dgm:pt>
    <dgm:pt modelId="{5616E69B-D4D1-4D6E-9D00-2C6F18F25F19}" type="pres">
      <dgm:prSet presAssocID="{94FACFF2-580F-4E03-A72E-6A78D3F61A0D}" presName="hierChild5" presStyleCnt="0"/>
      <dgm:spPr/>
    </dgm:pt>
    <dgm:pt modelId="{5F082D60-CC48-413C-8900-CCAAFA96DCD6}" type="pres">
      <dgm:prSet presAssocID="{5E6F2279-1A64-4664-9BDB-D1E6E052C3CB}" presName="Name37" presStyleLbl="parChTrans1D2" presStyleIdx="2" presStyleCnt="3"/>
      <dgm:spPr/>
      <dgm:t>
        <a:bodyPr/>
        <a:lstStyle/>
        <a:p>
          <a:endParaRPr lang="en-US"/>
        </a:p>
      </dgm:t>
    </dgm:pt>
    <dgm:pt modelId="{04EC3DAB-18E8-4156-B8E4-4C59A7143B86}" type="pres">
      <dgm:prSet presAssocID="{2CDD2A35-444D-4D71-92BA-C8B34D8CA909}" presName="hierRoot2" presStyleCnt="0">
        <dgm:presLayoutVars>
          <dgm:hierBranch val="init"/>
        </dgm:presLayoutVars>
      </dgm:prSet>
      <dgm:spPr/>
    </dgm:pt>
    <dgm:pt modelId="{8E6DCB4B-A124-4449-B56C-9A28D31B941E}" type="pres">
      <dgm:prSet presAssocID="{2CDD2A35-444D-4D71-92BA-C8B34D8CA909}" presName="rootComposite" presStyleCnt="0"/>
      <dgm:spPr/>
    </dgm:pt>
    <dgm:pt modelId="{FB8A078E-B2AD-4CEF-B649-EE1D8B296623}" type="pres">
      <dgm:prSet presAssocID="{2CDD2A35-444D-4D71-92BA-C8B34D8CA909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6CDEAD0-CEC9-44F0-B32C-36EE4AF57253}" type="pres">
      <dgm:prSet presAssocID="{2CDD2A35-444D-4D71-92BA-C8B34D8CA909}" presName="rootConnector" presStyleLbl="node2" presStyleIdx="2" presStyleCnt="3"/>
      <dgm:spPr/>
      <dgm:t>
        <a:bodyPr/>
        <a:lstStyle/>
        <a:p>
          <a:endParaRPr lang="en-US"/>
        </a:p>
      </dgm:t>
    </dgm:pt>
    <dgm:pt modelId="{14C75AB6-196D-4B11-ADB5-CBA632972A58}" type="pres">
      <dgm:prSet presAssocID="{2CDD2A35-444D-4D71-92BA-C8B34D8CA909}" presName="hierChild4" presStyleCnt="0"/>
      <dgm:spPr/>
    </dgm:pt>
    <dgm:pt modelId="{374A45A3-F760-4C0A-96C3-EA44E0B95103}" type="pres">
      <dgm:prSet presAssocID="{68FFA976-AE26-4683-8AEF-A4906C549929}" presName="Name37" presStyleLbl="parChTrans1D3" presStyleIdx="6" presStyleCnt="8"/>
      <dgm:spPr/>
      <dgm:t>
        <a:bodyPr/>
        <a:lstStyle/>
        <a:p>
          <a:endParaRPr lang="en-US"/>
        </a:p>
      </dgm:t>
    </dgm:pt>
    <dgm:pt modelId="{B38A7F84-4BFD-4C12-8AD6-B8057318B1AB}" type="pres">
      <dgm:prSet presAssocID="{4BFE5450-8F82-4A26-8FDF-DF7A6C482BF7}" presName="hierRoot2" presStyleCnt="0">
        <dgm:presLayoutVars>
          <dgm:hierBranch val="init"/>
        </dgm:presLayoutVars>
      </dgm:prSet>
      <dgm:spPr/>
    </dgm:pt>
    <dgm:pt modelId="{09539B0C-DD06-4B17-AD06-E1388041201E}" type="pres">
      <dgm:prSet presAssocID="{4BFE5450-8F82-4A26-8FDF-DF7A6C482BF7}" presName="rootComposite" presStyleCnt="0"/>
      <dgm:spPr/>
    </dgm:pt>
    <dgm:pt modelId="{5EF3B480-E935-4555-B3CF-B0EEC2DD1246}" type="pres">
      <dgm:prSet presAssocID="{4BFE5450-8F82-4A26-8FDF-DF7A6C482BF7}" presName="rootText" presStyleLbl="node3" presStyleIdx="6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DDDFF92-DBE7-4D93-B07E-41CBE5E88BAD}" type="pres">
      <dgm:prSet presAssocID="{4BFE5450-8F82-4A26-8FDF-DF7A6C482BF7}" presName="rootConnector" presStyleLbl="node3" presStyleIdx="6" presStyleCnt="8"/>
      <dgm:spPr/>
      <dgm:t>
        <a:bodyPr/>
        <a:lstStyle/>
        <a:p>
          <a:endParaRPr lang="en-US"/>
        </a:p>
      </dgm:t>
    </dgm:pt>
    <dgm:pt modelId="{D4F44F7A-5848-4FC9-842E-D2E4AA036C94}" type="pres">
      <dgm:prSet presAssocID="{4BFE5450-8F82-4A26-8FDF-DF7A6C482BF7}" presName="hierChild4" presStyleCnt="0"/>
      <dgm:spPr/>
    </dgm:pt>
    <dgm:pt modelId="{D7807BFB-2334-4967-A9DF-396281E8F386}" type="pres">
      <dgm:prSet presAssocID="{4BFE5450-8F82-4A26-8FDF-DF7A6C482BF7}" presName="hierChild5" presStyleCnt="0"/>
      <dgm:spPr/>
    </dgm:pt>
    <dgm:pt modelId="{859C8F32-68AE-41D1-8F21-AF2ADD282176}" type="pres">
      <dgm:prSet presAssocID="{37569E72-FE62-463B-985A-434A9B88A922}" presName="Name37" presStyleLbl="parChTrans1D3" presStyleIdx="7" presStyleCnt="8"/>
      <dgm:spPr/>
      <dgm:t>
        <a:bodyPr/>
        <a:lstStyle/>
        <a:p>
          <a:endParaRPr lang="en-US"/>
        </a:p>
      </dgm:t>
    </dgm:pt>
    <dgm:pt modelId="{BFF9784B-3E0A-4CF9-BE9C-FC010035E70C}" type="pres">
      <dgm:prSet presAssocID="{E153FD2F-958B-4501-A714-C375DBAA7B73}" presName="hierRoot2" presStyleCnt="0">
        <dgm:presLayoutVars>
          <dgm:hierBranch val="init"/>
        </dgm:presLayoutVars>
      </dgm:prSet>
      <dgm:spPr/>
    </dgm:pt>
    <dgm:pt modelId="{915A9CAB-388D-4A5A-A5CB-8F9551952D93}" type="pres">
      <dgm:prSet presAssocID="{E153FD2F-958B-4501-A714-C375DBAA7B73}" presName="rootComposite" presStyleCnt="0"/>
      <dgm:spPr/>
    </dgm:pt>
    <dgm:pt modelId="{A58FAC38-F844-4ED7-8E05-301D65C37F2F}" type="pres">
      <dgm:prSet presAssocID="{E153FD2F-958B-4501-A714-C375DBAA7B73}" presName="rootText" presStyleLbl="node3" presStyleIdx="7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49625A-EA0D-4080-8F6A-1E53C4CB449C}" type="pres">
      <dgm:prSet presAssocID="{E153FD2F-958B-4501-A714-C375DBAA7B73}" presName="rootConnector" presStyleLbl="node3" presStyleIdx="7" presStyleCnt="8"/>
      <dgm:spPr/>
      <dgm:t>
        <a:bodyPr/>
        <a:lstStyle/>
        <a:p>
          <a:endParaRPr lang="en-US"/>
        </a:p>
      </dgm:t>
    </dgm:pt>
    <dgm:pt modelId="{AC26EC8E-592A-478E-A060-5EE3D973AA4C}" type="pres">
      <dgm:prSet presAssocID="{E153FD2F-958B-4501-A714-C375DBAA7B73}" presName="hierChild4" presStyleCnt="0"/>
      <dgm:spPr/>
    </dgm:pt>
    <dgm:pt modelId="{AAF14733-7772-4221-A3F0-B49E68B56A28}" type="pres">
      <dgm:prSet presAssocID="{1B74D045-C566-437F-BAD9-2E5044FD5BC2}" presName="Name37" presStyleLbl="parChTrans1D4" presStyleIdx="6" presStyleCnt="9"/>
      <dgm:spPr/>
      <dgm:t>
        <a:bodyPr/>
        <a:lstStyle/>
        <a:p>
          <a:endParaRPr lang="en-US"/>
        </a:p>
      </dgm:t>
    </dgm:pt>
    <dgm:pt modelId="{FFB51502-1036-4630-8505-3997E874DD93}" type="pres">
      <dgm:prSet presAssocID="{2200EFBE-E51B-40A8-A3E2-1D0324F302C7}" presName="hierRoot2" presStyleCnt="0">
        <dgm:presLayoutVars>
          <dgm:hierBranch val="init"/>
        </dgm:presLayoutVars>
      </dgm:prSet>
      <dgm:spPr/>
    </dgm:pt>
    <dgm:pt modelId="{C43C2852-48E8-4A5E-AD4E-EE7E64E812EB}" type="pres">
      <dgm:prSet presAssocID="{2200EFBE-E51B-40A8-A3E2-1D0324F302C7}" presName="rootComposite" presStyleCnt="0"/>
      <dgm:spPr/>
    </dgm:pt>
    <dgm:pt modelId="{25C1F27A-1E2D-4892-BB4F-57A7E4F11EDF}" type="pres">
      <dgm:prSet presAssocID="{2200EFBE-E51B-40A8-A3E2-1D0324F302C7}" presName="rootText" presStyleLbl="node4" presStyleIdx="6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F1B4D46-6B4C-4E13-87A0-8C66A3638BAA}" type="pres">
      <dgm:prSet presAssocID="{2200EFBE-E51B-40A8-A3E2-1D0324F302C7}" presName="rootConnector" presStyleLbl="node4" presStyleIdx="6" presStyleCnt="9"/>
      <dgm:spPr/>
      <dgm:t>
        <a:bodyPr/>
        <a:lstStyle/>
        <a:p>
          <a:endParaRPr lang="en-US"/>
        </a:p>
      </dgm:t>
    </dgm:pt>
    <dgm:pt modelId="{65966E55-D924-4D7D-A156-54B39C3F9ED4}" type="pres">
      <dgm:prSet presAssocID="{2200EFBE-E51B-40A8-A3E2-1D0324F302C7}" presName="hierChild4" presStyleCnt="0"/>
      <dgm:spPr/>
    </dgm:pt>
    <dgm:pt modelId="{ACDB778C-B25A-4EEF-B245-0515846336BF}" type="pres">
      <dgm:prSet presAssocID="{2200EFBE-E51B-40A8-A3E2-1D0324F302C7}" presName="hierChild5" presStyleCnt="0"/>
      <dgm:spPr/>
    </dgm:pt>
    <dgm:pt modelId="{B6489E13-5EBB-46EA-BAD7-DF8FF1BD9538}" type="pres">
      <dgm:prSet presAssocID="{0F371CAE-D9D2-46D9-8B94-DA36E13C6AD2}" presName="Name37" presStyleLbl="parChTrans1D4" presStyleIdx="7" presStyleCnt="9"/>
      <dgm:spPr/>
      <dgm:t>
        <a:bodyPr/>
        <a:lstStyle/>
        <a:p>
          <a:endParaRPr lang="en-US"/>
        </a:p>
      </dgm:t>
    </dgm:pt>
    <dgm:pt modelId="{A688714A-BC39-42F4-9BFE-238E07F857B5}" type="pres">
      <dgm:prSet presAssocID="{DF1F2610-331D-40FA-BF9D-6EDF9EFE51A9}" presName="hierRoot2" presStyleCnt="0">
        <dgm:presLayoutVars>
          <dgm:hierBranch val="init"/>
        </dgm:presLayoutVars>
      </dgm:prSet>
      <dgm:spPr/>
    </dgm:pt>
    <dgm:pt modelId="{EDDFF759-A286-4F50-AB2C-988002415CB9}" type="pres">
      <dgm:prSet presAssocID="{DF1F2610-331D-40FA-BF9D-6EDF9EFE51A9}" presName="rootComposite" presStyleCnt="0"/>
      <dgm:spPr/>
    </dgm:pt>
    <dgm:pt modelId="{DD7130DD-593A-4323-998D-55A96692D1AD}" type="pres">
      <dgm:prSet presAssocID="{DF1F2610-331D-40FA-BF9D-6EDF9EFE51A9}" presName="rootText" presStyleLbl="node4" presStyleIdx="7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79A65C-021F-416B-8170-45C80F66D6E8}" type="pres">
      <dgm:prSet presAssocID="{DF1F2610-331D-40FA-BF9D-6EDF9EFE51A9}" presName="rootConnector" presStyleLbl="node4" presStyleIdx="7" presStyleCnt="9"/>
      <dgm:spPr/>
      <dgm:t>
        <a:bodyPr/>
        <a:lstStyle/>
        <a:p>
          <a:endParaRPr lang="en-US"/>
        </a:p>
      </dgm:t>
    </dgm:pt>
    <dgm:pt modelId="{1C655490-F002-4360-9641-2D59473C0E16}" type="pres">
      <dgm:prSet presAssocID="{DF1F2610-331D-40FA-BF9D-6EDF9EFE51A9}" presName="hierChild4" presStyleCnt="0"/>
      <dgm:spPr/>
    </dgm:pt>
    <dgm:pt modelId="{887821ED-2E3D-4444-8567-FECAC8D044DA}" type="pres">
      <dgm:prSet presAssocID="{DF1F2610-331D-40FA-BF9D-6EDF9EFE51A9}" presName="hierChild5" presStyleCnt="0"/>
      <dgm:spPr/>
    </dgm:pt>
    <dgm:pt modelId="{AAB28D6A-8651-4C2D-A93F-547F675057B1}" type="pres">
      <dgm:prSet presAssocID="{38E38FE5-60BB-4700-B80B-60E945994C77}" presName="Name37" presStyleLbl="parChTrans1D4" presStyleIdx="8" presStyleCnt="9"/>
      <dgm:spPr/>
      <dgm:t>
        <a:bodyPr/>
        <a:lstStyle/>
        <a:p>
          <a:endParaRPr lang="en-US"/>
        </a:p>
      </dgm:t>
    </dgm:pt>
    <dgm:pt modelId="{FDD37F11-1C21-4775-BDF3-129BCBC09A3A}" type="pres">
      <dgm:prSet presAssocID="{22411C1A-32C3-429F-B62A-F788CAD2365E}" presName="hierRoot2" presStyleCnt="0">
        <dgm:presLayoutVars>
          <dgm:hierBranch val="init"/>
        </dgm:presLayoutVars>
      </dgm:prSet>
      <dgm:spPr/>
    </dgm:pt>
    <dgm:pt modelId="{FCD25E20-914E-4CE0-902C-00E98C43450B}" type="pres">
      <dgm:prSet presAssocID="{22411C1A-32C3-429F-B62A-F788CAD2365E}" presName="rootComposite" presStyleCnt="0"/>
      <dgm:spPr/>
    </dgm:pt>
    <dgm:pt modelId="{4C681653-6A95-44B8-8E18-604E239A8921}" type="pres">
      <dgm:prSet presAssocID="{22411C1A-32C3-429F-B62A-F788CAD2365E}" presName="rootText" presStyleLbl="node4" presStyleIdx="8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26C2DD-ECFA-481B-9EC4-D765867E3F5D}" type="pres">
      <dgm:prSet presAssocID="{22411C1A-32C3-429F-B62A-F788CAD2365E}" presName="rootConnector" presStyleLbl="node4" presStyleIdx="8" presStyleCnt="9"/>
      <dgm:spPr/>
      <dgm:t>
        <a:bodyPr/>
        <a:lstStyle/>
        <a:p>
          <a:endParaRPr lang="en-US"/>
        </a:p>
      </dgm:t>
    </dgm:pt>
    <dgm:pt modelId="{5597CB20-0B74-40E6-B3E3-0781339B0A29}" type="pres">
      <dgm:prSet presAssocID="{22411C1A-32C3-429F-B62A-F788CAD2365E}" presName="hierChild4" presStyleCnt="0"/>
      <dgm:spPr/>
    </dgm:pt>
    <dgm:pt modelId="{6B8C6D94-65A1-4C27-AF0E-CB730DBB3943}" type="pres">
      <dgm:prSet presAssocID="{22411C1A-32C3-429F-B62A-F788CAD2365E}" presName="hierChild5" presStyleCnt="0"/>
      <dgm:spPr/>
    </dgm:pt>
    <dgm:pt modelId="{7C1E7FEE-F303-4C06-A5EA-4B89AB6E9F40}" type="pres">
      <dgm:prSet presAssocID="{E153FD2F-958B-4501-A714-C375DBAA7B73}" presName="hierChild5" presStyleCnt="0"/>
      <dgm:spPr/>
    </dgm:pt>
    <dgm:pt modelId="{292B17F6-3B17-409D-BDF6-F3FA5C93D47E}" type="pres">
      <dgm:prSet presAssocID="{2CDD2A35-444D-4D71-92BA-C8B34D8CA909}" presName="hierChild5" presStyleCnt="0"/>
      <dgm:spPr/>
    </dgm:pt>
    <dgm:pt modelId="{09A91909-8447-4F2B-B1BB-18494BA2637D}" type="pres">
      <dgm:prSet presAssocID="{DE83BED6-72D2-40AA-AEC0-E00DB39B7779}" presName="hierChild3" presStyleCnt="0"/>
      <dgm:spPr/>
    </dgm:pt>
  </dgm:ptLst>
  <dgm:cxnLst>
    <dgm:cxn modelId="{997AF2F2-BBCF-451E-9C5C-C0B9540F7FAD}" type="presOf" srcId="{2CDD2A35-444D-4D71-92BA-C8B34D8CA909}" destId="{E6CDEAD0-CEC9-44F0-B32C-36EE4AF57253}" srcOrd="1" destOrd="0" presId="urn:microsoft.com/office/officeart/2005/8/layout/orgChart1"/>
    <dgm:cxn modelId="{8261E12B-45A4-4AE4-A085-34D551051DF2}" srcId="{2CDD2A35-444D-4D71-92BA-C8B34D8CA909}" destId="{E153FD2F-958B-4501-A714-C375DBAA7B73}" srcOrd="1" destOrd="0" parTransId="{37569E72-FE62-463B-985A-434A9B88A922}" sibTransId="{813871F4-893C-45CA-90CA-14A824331AF1}"/>
    <dgm:cxn modelId="{6A2A8C08-2A1C-467D-AAF6-19AEEC275C6B}" type="presOf" srcId="{2024CE07-0840-4AFA-A285-8A332F9F0084}" destId="{878837BE-515B-4E24-ACD3-D8817605E4AB}" srcOrd="1" destOrd="0" presId="urn:microsoft.com/office/officeart/2005/8/layout/orgChart1"/>
    <dgm:cxn modelId="{403EDE93-A57A-4F9E-B3EE-F5B39722219E}" srcId="{2CDD2A35-444D-4D71-92BA-C8B34D8CA909}" destId="{4BFE5450-8F82-4A26-8FDF-DF7A6C482BF7}" srcOrd="0" destOrd="0" parTransId="{68FFA976-AE26-4683-8AEF-A4906C549929}" sibTransId="{29569558-4D7A-4E00-A197-0DC2808CADE1}"/>
    <dgm:cxn modelId="{622C97C6-A014-496D-9ABC-01BCAE9C902F}" srcId="{E153FD2F-958B-4501-A714-C375DBAA7B73}" destId="{2200EFBE-E51B-40A8-A3E2-1D0324F302C7}" srcOrd="0" destOrd="0" parTransId="{1B74D045-C566-437F-BAD9-2E5044FD5BC2}" sibTransId="{467E0E56-FE40-425D-B073-0E8D99971773}"/>
    <dgm:cxn modelId="{5C8BB2CB-0132-458D-B55F-DF1D29A3737E}" type="presOf" srcId="{2200EFBE-E51B-40A8-A3E2-1D0324F302C7}" destId="{DF1B4D46-6B4C-4E13-87A0-8C66A3638BAA}" srcOrd="1" destOrd="0" presId="urn:microsoft.com/office/officeart/2005/8/layout/orgChart1"/>
    <dgm:cxn modelId="{047EC501-0D49-43B7-82F3-1A7D199B8FCD}" type="presOf" srcId="{7ACFD0D1-A2F7-4D8B-B016-D6307FF6BC97}" destId="{BF899FC6-68C7-4D71-8AE0-335BD5724311}" srcOrd="1" destOrd="0" presId="urn:microsoft.com/office/officeart/2005/8/layout/orgChart1"/>
    <dgm:cxn modelId="{91BC3888-C210-44D4-8F45-F0177B94D3D3}" srcId="{E39CACED-4357-4F54-B362-1BBD963F9528}" destId="{DE83BED6-72D2-40AA-AEC0-E00DB39B7779}" srcOrd="0" destOrd="0" parTransId="{E909CF10-A94C-40D0-809D-A965F0027C14}" sibTransId="{9473080E-8303-4337-BC53-BC75E476AFCF}"/>
    <dgm:cxn modelId="{7B3A9889-5566-4DF1-A7B8-3BFC318608FC}" type="presOf" srcId="{1026319C-D65E-47DE-B68C-CB11FC289573}" destId="{6816DE47-4E45-46F7-8F85-34A9EBE7EE9B}" srcOrd="1" destOrd="0" presId="urn:microsoft.com/office/officeart/2005/8/layout/orgChart1"/>
    <dgm:cxn modelId="{00B71EE3-CA4D-4601-AFC4-0B34D2807278}" type="presOf" srcId="{7E5C29F3-5719-4E17-8CBB-86C58D1C392D}" destId="{7ECEA8CD-85C0-4A0E-A40C-3A0438CC7C86}" srcOrd="0" destOrd="0" presId="urn:microsoft.com/office/officeart/2005/8/layout/orgChart1"/>
    <dgm:cxn modelId="{735DE8F6-4221-4684-8F7F-DF23DCC78696}" type="presOf" srcId="{37569E72-FE62-463B-985A-434A9B88A922}" destId="{859C8F32-68AE-41D1-8F21-AF2ADD282176}" srcOrd="0" destOrd="0" presId="urn:microsoft.com/office/officeart/2005/8/layout/orgChart1"/>
    <dgm:cxn modelId="{FE26B0B1-032B-4FD5-B22B-6BD7B58C95CF}" type="presOf" srcId="{7ACFD0D1-A2F7-4D8B-B016-D6307FF6BC97}" destId="{619A917E-2FE0-4D54-B500-A6523829D53A}" srcOrd="0" destOrd="0" presId="urn:microsoft.com/office/officeart/2005/8/layout/orgChart1"/>
    <dgm:cxn modelId="{D1D85E7A-E479-4426-BAE8-9F2E3D20F178}" type="presOf" srcId="{DF1F2610-331D-40FA-BF9D-6EDF9EFE51A9}" destId="{DD7130DD-593A-4323-998D-55A96692D1AD}" srcOrd="0" destOrd="0" presId="urn:microsoft.com/office/officeart/2005/8/layout/orgChart1"/>
    <dgm:cxn modelId="{68AE023E-F2C9-43DB-AF67-5F5A3881FC9A}" srcId="{DE83BED6-72D2-40AA-AEC0-E00DB39B7779}" destId="{94FACFF2-580F-4E03-A72E-6A78D3F61A0D}" srcOrd="1" destOrd="0" parTransId="{BBB07DC0-FEB0-41A7-994C-B6C0577FD4BB}" sibTransId="{885E6A8D-99E2-48EC-9D08-E3ED777D83AC}"/>
    <dgm:cxn modelId="{AFB6B171-C7C6-4007-B179-8D05BE41DE25}" type="presOf" srcId="{1026319C-D65E-47DE-B68C-CB11FC289573}" destId="{B29D70E0-3C5F-46EB-8055-DA38CAFC89E3}" srcOrd="0" destOrd="0" presId="urn:microsoft.com/office/officeart/2005/8/layout/orgChart1"/>
    <dgm:cxn modelId="{53724676-BC5C-43B5-BD4E-5BAB40B41B36}" type="presOf" srcId="{5C8FC595-5907-4E6D-A000-F6203E0A6DB2}" destId="{4C90B3C0-311B-4985-BF2C-4868A2BA2053}" srcOrd="0" destOrd="0" presId="urn:microsoft.com/office/officeart/2005/8/layout/orgChart1"/>
    <dgm:cxn modelId="{287E05F7-89BA-4B54-8AFF-77FBEBA79715}" srcId="{F0813E2C-4806-4C65-8B5D-B3CAA55AB4B6}" destId="{2024CE07-0840-4AFA-A285-8A332F9F0084}" srcOrd="0" destOrd="0" parTransId="{4ED415F9-59B2-4644-8650-A4A52C08AAF1}" sibTransId="{25F22E91-CAE5-4C7C-9F8E-57A952A79A8E}"/>
    <dgm:cxn modelId="{90EE75A5-E336-42E3-A1E7-3EE33F18C6A0}" type="presOf" srcId="{A452153C-2C8E-4105-89D1-F2A798AB2705}" destId="{2A285E9D-B462-4456-8ED7-DDC2E8C76837}" srcOrd="0" destOrd="0" presId="urn:microsoft.com/office/officeart/2005/8/layout/orgChart1"/>
    <dgm:cxn modelId="{54F07B3A-B61F-4317-87BB-9CC7B3867501}" type="presOf" srcId="{AC66B097-9A77-4B4E-88EB-CCA6711BE3A9}" destId="{F0E31743-868F-406B-876C-6B11BD573394}" srcOrd="0" destOrd="0" presId="urn:microsoft.com/office/officeart/2005/8/layout/orgChart1"/>
    <dgm:cxn modelId="{47B2ACAB-05D1-4DAF-8B40-5A7D70A3708E}" srcId="{E4F26A9D-442B-4CF3-B8A7-61AD103578AA}" destId="{3120464E-6024-475A-B833-ED05EB9364F6}" srcOrd="1" destOrd="0" parTransId="{9C6E6B69-2180-480A-A2A4-BBF946CFBF3C}" sibTransId="{76E983C7-6E5F-439F-9C61-D3301964DD49}"/>
    <dgm:cxn modelId="{7A41B64D-46D6-4502-831D-75D2F8EDD782}" type="presOf" srcId="{DF1F2610-331D-40FA-BF9D-6EDF9EFE51A9}" destId="{CC79A65C-021F-416B-8170-45C80F66D6E8}" srcOrd="1" destOrd="0" presId="urn:microsoft.com/office/officeart/2005/8/layout/orgChart1"/>
    <dgm:cxn modelId="{0C815B0C-B328-4470-BC0A-22E047D7BF7A}" type="presOf" srcId="{22411C1A-32C3-429F-B62A-F788CAD2365E}" destId="{4A26C2DD-ECFA-481B-9EC4-D765867E3F5D}" srcOrd="1" destOrd="0" presId="urn:microsoft.com/office/officeart/2005/8/layout/orgChart1"/>
    <dgm:cxn modelId="{9D45C622-463F-40FD-9583-0F0C24B85BAF}" type="presOf" srcId="{3120464E-6024-475A-B833-ED05EB9364F6}" destId="{F175C515-C5ED-4B79-BB93-B05E49C0C9B4}" srcOrd="1" destOrd="0" presId="urn:microsoft.com/office/officeart/2005/8/layout/orgChart1"/>
    <dgm:cxn modelId="{0300C228-C332-45F0-96CE-464A90A85EB7}" type="presOf" srcId="{0F371CAE-D9D2-46D9-8B94-DA36E13C6AD2}" destId="{B6489E13-5EBB-46EA-BAD7-DF8FF1BD9538}" srcOrd="0" destOrd="0" presId="urn:microsoft.com/office/officeart/2005/8/layout/orgChart1"/>
    <dgm:cxn modelId="{AA254AB3-A982-43DF-BF08-2B63FC3E8ACF}" srcId="{F71B3521-3C56-4052-BCD1-EA1D3EC6C481}" destId="{F0813E2C-4806-4C65-8B5D-B3CAA55AB4B6}" srcOrd="2" destOrd="0" parTransId="{5C8FC595-5907-4E6D-A000-F6203E0A6DB2}" sibTransId="{3964BBF3-C709-403C-B809-DE00E322985E}"/>
    <dgm:cxn modelId="{21067F37-5C70-43C8-B9FA-046E8A81E312}" srcId="{52326B99-223E-4164-90D7-189BFAB66F0A}" destId="{810B1EE7-ADA7-4515-A7BC-7AA700C89083}" srcOrd="1" destOrd="0" parTransId="{688FDE0E-B158-4D2A-BD17-E32A7E92A590}" sibTransId="{3F338A8F-D527-4D99-9FD4-7663FE18B3FB}"/>
    <dgm:cxn modelId="{627D6356-807D-4C8D-B05C-37459C390F38}" srcId="{DE83BED6-72D2-40AA-AEC0-E00DB39B7779}" destId="{2CDD2A35-444D-4D71-92BA-C8B34D8CA909}" srcOrd="2" destOrd="0" parTransId="{5E6F2279-1A64-4664-9BDB-D1E6E052C3CB}" sibTransId="{20FFD80E-CD8F-4EB4-9A9C-368F11DA1E34}"/>
    <dgm:cxn modelId="{6ACFBD61-B67B-46EF-972E-46F42E887BA9}" type="presOf" srcId="{4BFE5450-8F82-4A26-8FDF-DF7A6C482BF7}" destId="{5EF3B480-E935-4555-B3CF-B0EEC2DD1246}" srcOrd="0" destOrd="0" presId="urn:microsoft.com/office/officeart/2005/8/layout/orgChart1"/>
    <dgm:cxn modelId="{5F8ADAAD-3A17-4A40-B24B-AEC40BE7611D}" type="presOf" srcId="{930425C0-40A6-483D-B20A-ADF47FECA268}" destId="{DED8561A-5A8E-4CBE-8FC6-607A83CFC3C4}" srcOrd="1" destOrd="0" presId="urn:microsoft.com/office/officeart/2005/8/layout/orgChart1"/>
    <dgm:cxn modelId="{E49607FA-959C-4516-9D63-B59132F91207}" type="presOf" srcId="{2200EFBE-E51B-40A8-A3E2-1D0324F302C7}" destId="{25C1F27A-1E2D-4892-BB4F-57A7E4F11EDF}" srcOrd="0" destOrd="0" presId="urn:microsoft.com/office/officeart/2005/8/layout/orgChart1"/>
    <dgm:cxn modelId="{80AA12F1-72CF-4118-B799-EB126F2E4659}" srcId="{F71B3521-3C56-4052-BCD1-EA1D3EC6C481}" destId="{52326B99-223E-4164-90D7-189BFAB66F0A}" srcOrd="0" destOrd="0" parTransId="{43F9BBB7-7A45-4719-B812-E36462539D72}" sibTransId="{6A06A137-FFCF-4AC8-A6A6-6CC520E649F9}"/>
    <dgm:cxn modelId="{1BCC3C36-75D0-4D21-BE57-D2C8B2DDA635}" type="presOf" srcId="{B814C49C-8DAB-46CD-88C0-98D4B1FCF628}" destId="{03E8E9C7-25A4-4E24-9CA9-CB63D43604DC}" srcOrd="1" destOrd="0" presId="urn:microsoft.com/office/officeart/2005/8/layout/orgChart1"/>
    <dgm:cxn modelId="{FC69496A-9656-45FC-89D2-2D88D6E490AB}" type="presOf" srcId="{A60FFF55-2885-42D8-80AE-7C93D2F114D2}" destId="{FFA55980-77AF-44D0-A3F7-3BC269961AEC}" srcOrd="0" destOrd="0" presId="urn:microsoft.com/office/officeart/2005/8/layout/orgChart1"/>
    <dgm:cxn modelId="{CFE7D8C2-18F7-4310-A622-E3CCC3B85362}" type="presOf" srcId="{B814C49C-8DAB-46CD-88C0-98D4B1FCF628}" destId="{313ED6A2-462B-4141-834D-9A74299512E5}" srcOrd="0" destOrd="0" presId="urn:microsoft.com/office/officeart/2005/8/layout/orgChart1"/>
    <dgm:cxn modelId="{576D5012-26DC-42C0-A57A-69508E20F86C}" type="presOf" srcId="{38E38FE5-60BB-4700-B80B-60E945994C77}" destId="{AAB28D6A-8651-4C2D-A93F-547F675057B1}" srcOrd="0" destOrd="0" presId="urn:microsoft.com/office/officeart/2005/8/layout/orgChart1"/>
    <dgm:cxn modelId="{345FDDCE-7D23-4571-A2F5-EF91E6A8CE30}" type="presOf" srcId="{E451B676-0CAC-406F-89E6-916AC8C8C93A}" destId="{31904FC6-72D9-49E0-9284-1C5AB229A040}" srcOrd="1" destOrd="0" presId="urn:microsoft.com/office/officeart/2005/8/layout/orgChart1"/>
    <dgm:cxn modelId="{36F016DD-213B-4785-91B7-2156CE9419A1}" type="presOf" srcId="{BBB07DC0-FEB0-41A7-994C-B6C0577FD4BB}" destId="{F43736C3-DC97-41E9-A92D-0C87CF3D4CE0}" srcOrd="0" destOrd="0" presId="urn:microsoft.com/office/officeart/2005/8/layout/orgChart1"/>
    <dgm:cxn modelId="{78CC8A80-5EA9-41DA-8B8A-3363D7DC35F7}" type="presOf" srcId="{E451B676-0CAC-406F-89E6-916AC8C8C93A}" destId="{EC11BC86-6BAE-45D5-BE76-F78A05459AB0}" srcOrd="0" destOrd="0" presId="urn:microsoft.com/office/officeart/2005/8/layout/orgChart1"/>
    <dgm:cxn modelId="{FA52A73C-82A1-43D7-8F22-C00BDA98C66A}" type="presOf" srcId="{E39CACED-4357-4F54-B362-1BBD963F9528}" destId="{28859B5A-0B83-443C-ADF5-F37810593438}" srcOrd="0" destOrd="0" presId="urn:microsoft.com/office/officeart/2005/8/layout/orgChart1"/>
    <dgm:cxn modelId="{4E32FD09-72B4-4A0C-859E-E8EC0735A805}" srcId="{E4F26A9D-442B-4CF3-B8A7-61AD103578AA}" destId="{7671B5D7-6326-4F5B-A653-3CAF4F85C317}" srcOrd="0" destOrd="0" parTransId="{7E5C29F3-5719-4E17-8CBB-86C58D1C392D}" sibTransId="{E73BEF5A-7A13-4798-875B-3AF82E129181}"/>
    <dgm:cxn modelId="{120D7DB9-55AA-4ED2-830E-8EF5C0272AC8}" type="presOf" srcId="{7671B5D7-6326-4F5B-A653-3CAF4F85C317}" destId="{F262B25E-D781-4D44-82CD-CC9D501578F2}" srcOrd="0" destOrd="0" presId="urn:microsoft.com/office/officeart/2005/8/layout/orgChart1"/>
    <dgm:cxn modelId="{79D5D1E6-D621-4A6F-97C8-405D259D17A4}" type="presOf" srcId="{7671B5D7-6326-4F5B-A653-3CAF4F85C317}" destId="{304D762D-C028-4DB9-B788-4204A181D9A3}" srcOrd="1" destOrd="0" presId="urn:microsoft.com/office/officeart/2005/8/layout/orgChart1"/>
    <dgm:cxn modelId="{1E27E3D6-4258-41F0-A036-70EBDD7987F0}" srcId="{E153FD2F-958B-4501-A714-C375DBAA7B73}" destId="{DF1F2610-331D-40FA-BF9D-6EDF9EFE51A9}" srcOrd="1" destOrd="0" parTransId="{0F371CAE-D9D2-46D9-8B94-DA36E13C6AD2}" sibTransId="{42F110AA-9D8C-489A-8265-CF1111F09DD2}"/>
    <dgm:cxn modelId="{C0A72DFD-373D-407A-96E7-880BABA0AD04}" type="presOf" srcId="{810B1EE7-ADA7-4515-A7BC-7AA700C89083}" destId="{C7CAA8CC-E8AB-4416-AC75-95F821E67A5E}" srcOrd="0" destOrd="0" presId="urn:microsoft.com/office/officeart/2005/8/layout/orgChart1"/>
    <dgm:cxn modelId="{79756AF6-2584-4B9E-8596-0D808C41D82E}" type="presOf" srcId="{68FFA976-AE26-4683-8AEF-A4906C549929}" destId="{374A45A3-F760-4C0A-96C3-EA44E0B95103}" srcOrd="0" destOrd="0" presId="urn:microsoft.com/office/officeart/2005/8/layout/orgChart1"/>
    <dgm:cxn modelId="{220740AB-8C17-41D8-9855-B102F8C5997B}" type="presOf" srcId="{22411C1A-32C3-429F-B62A-F788CAD2365E}" destId="{4C681653-6A95-44B8-8E18-604E239A8921}" srcOrd="0" destOrd="0" presId="urn:microsoft.com/office/officeart/2005/8/layout/orgChart1"/>
    <dgm:cxn modelId="{E40959A7-4B43-4181-81A4-9766DFB0754D}" type="presOf" srcId="{43F9BBB7-7A45-4719-B812-E36462539D72}" destId="{AC2F14F4-F80C-499C-898D-658D05F28B49}" srcOrd="0" destOrd="0" presId="urn:microsoft.com/office/officeart/2005/8/layout/orgChart1"/>
    <dgm:cxn modelId="{F58EE94F-54F4-40EB-9FA4-E460875454A6}" type="presOf" srcId="{F0813E2C-4806-4C65-8B5D-B3CAA55AB4B6}" destId="{7E66F63D-8FA6-42BB-A62A-C349B7EA69C6}" srcOrd="0" destOrd="0" presId="urn:microsoft.com/office/officeart/2005/8/layout/orgChart1"/>
    <dgm:cxn modelId="{D0B6F941-038C-4A28-9DD9-F99550173673}" type="presOf" srcId="{52326B99-223E-4164-90D7-189BFAB66F0A}" destId="{5A63B776-8325-407C-949F-EF4E998D6E29}" srcOrd="0" destOrd="0" presId="urn:microsoft.com/office/officeart/2005/8/layout/orgChart1"/>
    <dgm:cxn modelId="{C9BF98B3-59DA-4DF3-A607-E62C976FFB55}" type="presOf" srcId="{930425C0-40A6-483D-B20A-ADF47FECA268}" destId="{5677D944-029C-484C-80A5-13BC10A104E4}" srcOrd="0" destOrd="0" presId="urn:microsoft.com/office/officeart/2005/8/layout/orgChart1"/>
    <dgm:cxn modelId="{F1233C20-D124-48FA-BBBC-5C93A7A28E28}" type="presOf" srcId="{DE83BED6-72D2-40AA-AEC0-E00DB39B7779}" destId="{680577D9-CE59-4684-96DE-28BAE8831EA2}" srcOrd="1" destOrd="0" presId="urn:microsoft.com/office/officeart/2005/8/layout/orgChart1"/>
    <dgm:cxn modelId="{B60B6DF3-DC0B-484A-9315-9584CC771913}" type="presOf" srcId="{94FACFF2-580F-4E03-A72E-6A78D3F61A0D}" destId="{8C3924C6-95D7-4CDA-A998-F6CD342F1665}" srcOrd="0" destOrd="0" presId="urn:microsoft.com/office/officeart/2005/8/layout/orgChart1"/>
    <dgm:cxn modelId="{B4953CA5-CD08-4E43-8694-D26BF37B05D7}" type="presOf" srcId="{688FDE0E-B158-4D2A-BD17-E32A7E92A590}" destId="{DA2BD802-BF83-415A-AED6-A8AEE65C718B}" srcOrd="0" destOrd="0" presId="urn:microsoft.com/office/officeart/2005/8/layout/orgChart1"/>
    <dgm:cxn modelId="{620AA492-D7C3-43F5-8363-ABA2D04056E6}" type="presOf" srcId="{2CDD2A35-444D-4D71-92BA-C8B34D8CA909}" destId="{FB8A078E-B2AD-4CEF-B649-EE1D8B296623}" srcOrd="0" destOrd="0" presId="urn:microsoft.com/office/officeart/2005/8/layout/orgChart1"/>
    <dgm:cxn modelId="{6BCE9396-2DBB-42A5-9EBE-AC26005CBF78}" type="presOf" srcId="{E153FD2F-958B-4501-A714-C375DBAA7B73}" destId="{4A49625A-EA0D-4080-8F6A-1E53C4CB449C}" srcOrd="1" destOrd="0" presId="urn:microsoft.com/office/officeart/2005/8/layout/orgChart1"/>
    <dgm:cxn modelId="{FCEF6454-FB0D-42F2-9BED-327C27D5B6F6}" type="presOf" srcId="{E66D0E20-5C3D-409D-809A-AF9EF574822C}" destId="{2A7675F5-2BBC-4E57-B900-715F59D6F9D8}" srcOrd="0" destOrd="0" presId="urn:microsoft.com/office/officeart/2005/8/layout/orgChart1"/>
    <dgm:cxn modelId="{1EE2D5DE-1990-4A99-82F2-D30DF74F00A6}" type="presOf" srcId="{2024CE07-0840-4AFA-A285-8A332F9F0084}" destId="{A45277E3-0420-4505-9B32-E8C33D91C7D0}" srcOrd="0" destOrd="0" presId="urn:microsoft.com/office/officeart/2005/8/layout/orgChart1"/>
    <dgm:cxn modelId="{8E13874A-667D-49C8-AE83-125151F6BEEC}" srcId="{E153FD2F-958B-4501-A714-C375DBAA7B73}" destId="{22411C1A-32C3-429F-B62A-F788CAD2365E}" srcOrd="2" destOrd="0" parTransId="{38E38FE5-60BB-4700-B80B-60E945994C77}" sibTransId="{54F2324B-9E8E-466F-9361-F9134718D6FF}"/>
    <dgm:cxn modelId="{F3D634D5-12A4-43DA-B69D-AFADE6A4475C}" type="presOf" srcId="{3120464E-6024-475A-B833-ED05EB9364F6}" destId="{1B48FE02-8066-4510-AB7C-F56BD51BDF4B}" srcOrd="0" destOrd="0" presId="urn:microsoft.com/office/officeart/2005/8/layout/orgChart1"/>
    <dgm:cxn modelId="{5B461DA6-2FBC-40D9-95E1-AAC1D4912903}" type="presOf" srcId="{17043636-82E3-4A58-BD54-255DAE385AA4}" destId="{B02AF2FA-B901-4EBD-A0F4-874AF10956EF}" srcOrd="0" destOrd="0" presId="urn:microsoft.com/office/officeart/2005/8/layout/orgChart1"/>
    <dgm:cxn modelId="{8D2AF4EF-F660-4EB8-BF66-AB945F5F6586}" type="presOf" srcId="{D0A1B840-787D-4ED8-9FA8-82EFBF4A16ED}" destId="{03B7BB75-3081-4A5F-AE84-D0A5017A250E}" srcOrd="0" destOrd="0" presId="urn:microsoft.com/office/officeart/2005/8/layout/orgChart1"/>
    <dgm:cxn modelId="{DE779A05-CA6B-49D4-90DC-5F10A50CAAC9}" type="presOf" srcId="{7B7C413D-1FCC-4D9D-9F1C-BACFFAFF07D7}" destId="{DD6034CB-E414-4170-8B00-5686E0E374AF}" srcOrd="0" destOrd="0" presId="urn:microsoft.com/office/officeart/2005/8/layout/orgChart1"/>
    <dgm:cxn modelId="{AEAF9D67-E660-462E-915D-DBA4FC31214E}" srcId="{94FACFF2-580F-4E03-A72E-6A78D3F61A0D}" destId="{930425C0-40A6-483D-B20A-ADF47FECA268}" srcOrd="0" destOrd="0" parTransId="{D0A1B840-787D-4ED8-9FA8-82EFBF4A16ED}" sibTransId="{6EA20A79-F908-456E-9CB2-9415506673C5}"/>
    <dgm:cxn modelId="{16D0589D-860A-4F46-BA1F-F5A87674EE29}" srcId="{94FACFF2-580F-4E03-A72E-6A78D3F61A0D}" destId="{1026319C-D65E-47DE-B68C-CB11FC289573}" srcOrd="1" destOrd="0" parTransId="{AC66B097-9A77-4B4E-88EB-CCA6711BE3A9}" sibTransId="{4C185AE5-94A0-4DC9-BF18-A322378B65E3}"/>
    <dgm:cxn modelId="{BC65EDC3-8340-4DCD-815B-33B1B2E26BEB}" type="presOf" srcId="{4BFE5450-8F82-4A26-8FDF-DF7A6C482BF7}" destId="{EDDDFF92-DBE7-4D93-B07E-41CBE5E88BAD}" srcOrd="1" destOrd="0" presId="urn:microsoft.com/office/officeart/2005/8/layout/orgChart1"/>
    <dgm:cxn modelId="{BFAD9CB4-B266-4ED1-B256-5B115E51A922}" srcId="{F71B3521-3C56-4052-BCD1-EA1D3EC6C481}" destId="{E4F26A9D-442B-4CF3-B8A7-61AD103578AA}" srcOrd="1" destOrd="0" parTransId="{7B7C413D-1FCC-4D9D-9F1C-BACFFAFF07D7}" sibTransId="{A44C9AC1-0FD1-4891-8DAF-618E59E6EBED}"/>
    <dgm:cxn modelId="{BA53FF5F-979E-45BD-8AFE-0436ABBEBD48}" srcId="{DE83BED6-72D2-40AA-AEC0-E00DB39B7779}" destId="{F71B3521-3C56-4052-BCD1-EA1D3EC6C481}" srcOrd="0" destOrd="0" parTransId="{A60FFF55-2885-42D8-80AE-7C93D2F114D2}" sibTransId="{04C87A95-CE1A-40CE-BD04-BA16A5204ACD}"/>
    <dgm:cxn modelId="{A1466F09-272A-4017-98F6-87FA7DDA1E3B}" type="presOf" srcId="{810B1EE7-ADA7-4515-A7BC-7AA700C89083}" destId="{4B63BB0F-846E-4658-8317-2D639E924898}" srcOrd="1" destOrd="0" presId="urn:microsoft.com/office/officeart/2005/8/layout/orgChart1"/>
    <dgm:cxn modelId="{B08A6287-7401-4217-B1A2-136831571D24}" type="presOf" srcId="{1B74D045-C566-437F-BAD9-2E5044FD5BC2}" destId="{AAF14733-7772-4221-A3F0-B49E68B56A28}" srcOrd="0" destOrd="0" presId="urn:microsoft.com/office/officeart/2005/8/layout/orgChart1"/>
    <dgm:cxn modelId="{C5AD08B5-289B-4055-89D3-0AA4368C0FA6}" type="presOf" srcId="{5E6F2279-1A64-4664-9BDB-D1E6E052C3CB}" destId="{5F082D60-CC48-413C-8900-CCAAFA96DCD6}" srcOrd="0" destOrd="0" presId="urn:microsoft.com/office/officeart/2005/8/layout/orgChart1"/>
    <dgm:cxn modelId="{4026ADD2-8B59-4B14-A6F3-8D6ED1116B90}" type="presOf" srcId="{94FACFF2-580F-4E03-A72E-6A78D3F61A0D}" destId="{D76FD241-CC1D-4310-89BD-442A5810C12B}" srcOrd="1" destOrd="0" presId="urn:microsoft.com/office/officeart/2005/8/layout/orgChart1"/>
    <dgm:cxn modelId="{D905224C-9F43-4CD3-90EB-0488072EA899}" srcId="{52326B99-223E-4164-90D7-189BFAB66F0A}" destId="{E451B676-0CAC-406F-89E6-916AC8C8C93A}" srcOrd="0" destOrd="0" parTransId="{A452153C-2C8E-4105-89D1-F2A798AB2705}" sibTransId="{CBDF9A26-4D10-4197-9A88-511C33963680}"/>
    <dgm:cxn modelId="{ECE6AD1B-E202-4101-8BE3-577AB0E85D45}" srcId="{94FACFF2-580F-4E03-A72E-6A78D3F61A0D}" destId="{B814C49C-8DAB-46CD-88C0-98D4B1FCF628}" srcOrd="2" destOrd="0" parTransId="{E66D0E20-5C3D-409D-809A-AF9EF574822C}" sibTransId="{BAB494CC-CDA7-4E3A-AAC9-7B11016243B3}"/>
    <dgm:cxn modelId="{C64E9A02-0ED5-4EBC-A9FE-1F814BF675EF}" type="presOf" srcId="{E153FD2F-958B-4501-A714-C375DBAA7B73}" destId="{A58FAC38-F844-4ED7-8E05-301D65C37F2F}" srcOrd="0" destOrd="0" presId="urn:microsoft.com/office/officeart/2005/8/layout/orgChart1"/>
    <dgm:cxn modelId="{8BE157EF-6830-4286-B4E3-A4373AEF4405}" type="presOf" srcId="{9C6E6B69-2180-480A-A2A4-BBF946CFBF3C}" destId="{610B7A79-132C-4674-BEC6-DB17C8FE71CA}" srcOrd="0" destOrd="0" presId="urn:microsoft.com/office/officeart/2005/8/layout/orgChart1"/>
    <dgm:cxn modelId="{2AD16F65-BA35-4C57-8F88-6248AB798B9C}" type="presOf" srcId="{F0813E2C-4806-4C65-8B5D-B3CAA55AB4B6}" destId="{BC10B860-36A0-4961-8079-9E6BE51EC74E}" srcOrd="1" destOrd="0" presId="urn:microsoft.com/office/officeart/2005/8/layout/orgChart1"/>
    <dgm:cxn modelId="{480FB947-47DB-4634-BAC0-422053B5B5EC}" type="presOf" srcId="{F71B3521-3C56-4052-BCD1-EA1D3EC6C481}" destId="{029320F6-83FB-4A89-9054-D9E9E12EE9BC}" srcOrd="0" destOrd="0" presId="urn:microsoft.com/office/officeart/2005/8/layout/orgChart1"/>
    <dgm:cxn modelId="{A6B56A0A-1C06-43A9-8ED6-D0D2112F1546}" type="presOf" srcId="{E4F26A9D-442B-4CF3-B8A7-61AD103578AA}" destId="{63FC501E-E654-41F7-BA6A-0BF70B2D3C70}" srcOrd="0" destOrd="0" presId="urn:microsoft.com/office/officeart/2005/8/layout/orgChart1"/>
    <dgm:cxn modelId="{530FE6DF-A218-4466-964E-95DC7A499D2C}" type="presOf" srcId="{E4F26A9D-442B-4CF3-B8A7-61AD103578AA}" destId="{2C7A89E5-BCC5-49F8-9C2E-B40770C21629}" srcOrd="1" destOrd="0" presId="urn:microsoft.com/office/officeart/2005/8/layout/orgChart1"/>
    <dgm:cxn modelId="{DF8CD847-58D7-44FF-BC7B-570626C04C96}" type="presOf" srcId="{DE83BED6-72D2-40AA-AEC0-E00DB39B7779}" destId="{38BA7490-6ACB-4B33-883C-6FA120FC9D65}" srcOrd="0" destOrd="0" presId="urn:microsoft.com/office/officeart/2005/8/layout/orgChart1"/>
    <dgm:cxn modelId="{5A534145-8D9D-49A1-9326-E70FE85FBA87}" type="presOf" srcId="{F71B3521-3C56-4052-BCD1-EA1D3EC6C481}" destId="{D091A536-36A1-4130-9339-8B801A1F2803}" srcOrd="1" destOrd="0" presId="urn:microsoft.com/office/officeart/2005/8/layout/orgChart1"/>
    <dgm:cxn modelId="{360D9DE6-F9DB-4452-993D-8FAC6B06632C}" type="presOf" srcId="{52326B99-223E-4164-90D7-189BFAB66F0A}" destId="{CA2A6560-D5A2-4CB4-B870-C2758A3902AA}" srcOrd="1" destOrd="0" presId="urn:microsoft.com/office/officeart/2005/8/layout/orgChart1"/>
    <dgm:cxn modelId="{223C3792-783D-4965-8CFD-8BFA18063BE5}" srcId="{F0813E2C-4806-4C65-8B5D-B3CAA55AB4B6}" destId="{7ACFD0D1-A2F7-4D8B-B016-D6307FF6BC97}" srcOrd="1" destOrd="0" parTransId="{17043636-82E3-4A58-BD54-255DAE385AA4}" sibTransId="{447DFFCA-08FE-45A8-A203-ECEF4DEF995A}"/>
    <dgm:cxn modelId="{59A51C73-F4DA-4480-B98F-BAAA14D5BDDD}" type="presOf" srcId="{4ED415F9-59B2-4644-8650-A4A52C08AAF1}" destId="{3BCCE23A-CC94-4B5F-B13D-CB73BFAE0403}" srcOrd="0" destOrd="0" presId="urn:microsoft.com/office/officeart/2005/8/layout/orgChart1"/>
    <dgm:cxn modelId="{7C6F59B1-409D-4B46-9B68-BA736EE141EE}" type="presParOf" srcId="{28859B5A-0B83-443C-ADF5-F37810593438}" destId="{F6F7935D-6530-4593-AE5C-8F4559AFEF00}" srcOrd="0" destOrd="0" presId="urn:microsoft.com/office/officeart/2005/8/layout/orgChart1"/>
    <dgm:cxn modelId="{2DAC8A60-8DE5-4E81-998C-6109CF7A10B1}" type="presParOf" srcId="{F6F7935D-6530-4593-AE5C-8F4559AFEF00}" destId="{83F13196-00FF-420F-91B3-7265F9DA2E35}" srcOrd="0" destOrd="0" presId="urn:microsoft.com/office/officeart/2005/8/layout/orgChart1"/>
    <dgm:cxn modelId="{1C888BEE-4775-4C36-A4D6-E96B48AA0C35}" type="presParOf" srcId="{83F13196-00FF-420F-91B3-7265F9DA2E35}" destId="{38BA7490-6ACB-4B33-883C-6FA120FC9D65}" srcOrd="0" destOrd="0" presId="urn:microsoft.com/office/officeart/2005/8/layout/orgChart1"/>
    <dgm:cxn modelId="{84F7D89D-7C0E-48C4-83B7-CCD919219970}" type="presParOf" srcId="{83F13196-00FF-420F-91B3-7265F9DA2E35}" destId="{680577D9-CE59-4684-96DE-28BAE8831EA2}" srcOrd="1" destOrd="0" presId="urn:microsoft.com/office/officeart/2005/8/layout/orgChart1"/>
    <dgm:cxn modelId="{980ECE01-4745-4AE2-A2B9-2A0B1BF3B464}" type="presParOf" srcId="{F6F7935D-6530-4593-AE5C-8F4559AFEF00}" destId="{7CEDCA83-5FB1-4912-AF43-4BFEBFF2F37F}" srcOrd="1" destOrd="0" presId="urn:microsoft.com/office/officeart/2005/8/layout/orgChart1"/>
    <dgm:cxn modelId="{8663B8E5-0A94-4B4C-AD84-95019BC5BE6E}" type="presParOf" srcId="{7CEDCA83-5FB1-4912-AF43-4BFEBFF2F37F}" destId="{FFA55980-77AF-44D0-A3F7-3BC269961AEC}" srcOrd="0" destOrd="0" presId="urn:microsoft.com/office/officeart/2005/8/layout/orgChart1"/>
    <dgm:cxn modelId="{ECD95727-7899-41D2-99A6-835BDE79CB83}" type="presParOf" srcId="{7CEDCA83-5FB1-4912-AF43-4BFEBFF2F37F}" destId="{00081117-45A1-413A-B1E7-872F21D2B3AC}" srcOrd="1" destOrd="0" presId="urn:microsoft.com/office/officeart/2005/8/layout/orgChart1"/>
    <dgm:cxn modelId="{BA51B840-9422-4FFD-B253-689AA5B22B44}" type="presParOf" srcId="{00081117-45A1-413A-B1E7-872F21D2B3AC}" destId="{04D54B35-6050-4549-B9DB-88983911643A}" srcOrd="0" destOrd="0" presId="urn:microsoft.com/office/officeart/2005/8/layout/orgChart1"/>
    <dgm:cxn modelId="{E7FA4C80-D1CF-44D7-AE2E-5D40FA6EC204}" type="presParOf" srcId="{04D54B35-6050-4549-B9DB-88983911643A}" destId="{029320F6-83FB-4A89-9054-D9E9E12EE9BC}" srcOrd="0" destOrd="0" presId="urn:microsoft.com/office/officeart/2005/8/layout/orgChart1"/>
    <dgm:cxn modelId="{E92CCBCC-7748-47D4-8E4A-EE5FC976CFA1}" type="presParOf" srcId="{04D54B35-6050-4549-B9DB-88983911643A}" destId="{D091A536-36A1-4130-9339-8B801A1F2803}" srcOrd="1" destOrd="0" presId="urn:microsoft.com/office/officeart/2005/8/layout/orgChart1"/>
    <dgm:cxn modelId="{1DB96858-5B3B-4437-AC10-5BD6CCE5929B}" type="presParOf" srcId="{00081117-45A1-413A-B1E7-872F21D2B3AC}" destId="{FF10DB19-2D38-4AA7-9618-B663B1423350}" srcOrd="1" destOrd="0" presId="urn:microsoft.com/office/officeart/2005/8/layout/orgChart1"/>
    <dgm:cxn modelId="{B542D499-1966-436C-BE25-6792873708A4}" type="presParOf" srcId="{FF10DB19-2D38-4AA7-9618-B663B1423350}" destId="{AC2F14F4-F80C-499C-898D-658D05F28B49}" srcOrd="0" destOrd="0" presId="urn:microsoft.com/office/officeart/2005/8/layout/orgChart1"/>
    <dgm:cxn modelId="{F147D2A2-861B-4BBB-A38C-33F6C73BC5BD}" type="presParOf" srcId="{FF10DB19-2D38-4AA7-9618-B663B1423350}" destId="{4CBFBE2A-E49D-4A7B-ADC8-03FEEFC476A9}" srcOrd="1" destOrd="0" presId="urn:microsoft.com/office/officeart/2005/8/layout/orgChart1"/>
    <dgm:cxn modelId="{474AF3C0-A713-41DE-A893-7650F5F5D045}" type="presParOf" srcId="{4CBFBE2A-E49D-4A7B-ADC8-03FEEFC476A9}" destId="{611245A0-6B2F-4851-A3A4-48E2F2F08A53}" srcOrd="0" destOrd="0" presId="urn:microsoft.com/office/officeart/2005/8/layout/orgChart1"/>
    <dgm:cxn modelId="{633E4558-C1B6-4E3D-A67A-35BC6C5CD5FF}" type="presParOf" srcId="{611245A0-6B2F-4851-A3A4-48E2F2F08A53}" destId="{5A63B776-8325-407C-949F-EF4E998D6E29}" srcOrd="0" destOrd="0" presId="urn:microsoft.com/office/officeart/2005/8/layout/orgChart1"/>
    <dgm:cxn modelId="{A7836E65-1A45-4639-B73B-D237698034E3}" type="presParOf" srcId="{611245A0-6B2F-4851-A3A4-48E2F2F08A53}" destId="{CA2A6560-D5A2-4CB4-B870-C2758A3902AA}" srcOrd="1" destOrd="0" presId="urn:microsoft.com/office/officeart/2005/8/layout/orgChart1"/>
    <dgm:cxn modelId="{81B8C736-CCF8-4E28-B4D4-010344B92E58}" type="presParOf" srcId="{4CBFBE2A-E49D-4A7B-ADC8-03FEEFC476A9}" destId="{5652B142-197D-4B9C-A5CA-3F981E5F4F94}" srcOrd="1" destOrd="0" presId="urn:microsoft.com/office/officeart/2005/8/layout/orgChart1"/>
    <dgm:cxn modelId="{B985A410-D67B-48BE-81A7-A6FC8D59D957}" type="presParOf" srcId="{5652B142-197D-4B9C-A5CA-3F981E5F4F94}" destId="{2A285E9D-B462-4456-8ED7-DDC2E8C76837}" srcOrd="0" destOrd="0" presId="urn:microsoft.com/office/officeart/2005/8/layout/orgChart1"/>
    <dgm:cxn modelId="{AF745295-8E87-47A2-BC11-076D38A933A0}" type="presParOf" srcId="{5652B142-197D-4B9C-A5CA-3F981E5F4F94}" destId="{A0E18524-3B09-4688-9F9F-87AB30720A98}" srcOrd="1" destOrd="0" presId="urn:microsoft.com/office/officeart/2005/8/layout/orgChart1"/>
    <dgm:cxn modelId="{B043D969-0A32-45CA-9F98-2AE8F63C8603}" type="presParOf" srcId="{A0E18524-3B09-4688-9F9F-87AB30720A98}" destId="{C01B0461-EEC3-4E13-A59D-BE7F52E75A87}" srcOrd="0" destOrd="0" presId="urn:microsoft.com/office/officeart/2005/8/layout/orgChart1"/>
    <dgm:cxn modelId="{FC523029-48C7-4B0A-9197-45EE918548EE}" type="presParOf" srcId="{C01B0461-EEC3-4E13-A59D-BE7F52E75A87}" destId="{EC11BC86-6BAE-45D5-BE76-F78A05459AB0}" srcOrd="0" destOrd="0" presId="urn:microsoft.com/office/officeart/2005/8/layout/orgChart1"/>
    <dgm:cxn modelId="{B9EA5CF9-1A81-4117-A7A9-249AB7F95B04}" type="presParOf" srcId="{C01B0461-EEC3-4E13-A59D-BE7F52E75A87}" destId="{31904FC6-72D9-49E0-9284-1C5AB229A040}" srcOrd="1" destOrd="0" presId="urn:microsoft.com/office/officeart/2005/8/layout/orgChart1"/>
    <dgm:cxn modelId="{DA162262-8F7A-41A5-9ED2-E793A67BFB4B}" type="presParOf" srcId="{A0E18524-3B09-4688-9F9F-87AB30720A98}" destId="{B1958780-B180-4D09-813D-3FFCFB6D6A41}" srcOrd="1" destOrd="0" presId="urn:microsoft.com/office/officeart/2005/8/layout/orgChart1"/>
    <dgm:cxn modelId="{E727222A-C8AE-483D-B412-8569FCB988A2}" type="presParOf" srcId="{A0E18524-3B09-4688-9F9F-87AB30720A98}" destId="{A514FABF-9D63-4365-8AA0-DAE0293AA92A}" srcOrd="2" destOrd="0" presId="urn:microsoft.com/office/officeart/2005/8/layout/orgChart1"/>
    <dgm:cxn modelId="{0EEB24E6-72EF-4D6C-A13C-86917C16A018}" type="presParOf" srcId="{5652B142-197D-4B9C-A5CA-3F981E5F4F94}" destId="{DA2BD802-BF83-415A-AED6-A8AEE65C718B}" srcOrd="2" destOrd="0" presId="urn:microsoft.com/office/officeart/2005/8/layout/orgChart1"/>
    <dgm:cxn modelId="{AEE3C60B-4471-405E-AA95-F6DD654AD815}" type="presParOf" srcId="{5652B142-197D-4B9C-A5CA-3F981E5F4F94}" destId="{87CE19AB-47C5-400D-8A20-2D627BDEC313}" srcOrd="3" destOrd="0" presId="urn:microsoft.com/office/officeart/2005/8/layout/orgChart1"/>
    <dgm:cxn modelId="{21B2A845-9911-44AE-925B-160B31DEE5FD}" type="presParOf" srcId="{87CE19AB-47C5-400D-8A20-2D627BDEC313}" destId="{C7CB3C31-96F3-45F2-9490-029EC35187A7}" srcOrd="0" destOrd="0" presId="urn:microsoft.com/office/officeart/2005/8/layout/orgChart1"/>
    <dgm:cxn modelId="{CBC47D2B-797E-4FCF-B53C-19D1B2885A3A}" type="presParOf" srcId="{C7CB3C31-96F3-45F2-9490-029EC35187A7}" destId="{C7CAA8CC-E8AB-4416-AC75-95F821E67A5E}" srcOrd="0" destOrd="0" presId="urn:microsoft.com/office/officeart/2005/8/layout/orgChart1"/>
    <dgm:cxn modelId="{ECBD1C59-071B-4A12-8A4A-AA9923738CEA}" type="presParOf" srcId="{C7CB3C31-96F3-45F2-9490-029EC35187A7}" destId="{4B63BB0F-846E-4658-8317-2D639E924898}" srcOrd="1" destOrd="0" presId="urn:microsoft.com/office/officeart/2005/8/layout/orgChart1"/>
    <dgm:cxn modelId="{D4FD2CE3-FD45-4841-A463-081BE249FC52}" type="presParOf" srcId="{87CE19AB-47C5-400D-8A20-2D627BDEC313}" destId="{5DF7D52E-E6F0-4B9B-B745-37DDD18BC703}" srcOrd="1" destOrd="0" presId="urn:microsoft.com/office/officeart/2005/8/layout/orgChart1"/>
    <dgm:cxn modelId="{16DE7A30-CEEE-4EFE-A2D2-EE64BC7F5166}" type="presParOf" srcId="{87CE19AB-47C5-400D-8A20-2D627BDEC313}" destId="{1D73D43A-92BE-4D5C-9170-CC170013A0BE}" srcOrd="2" destOrd="0" presId="urn:microsoft.com/office/officeart/2005/8/layout/orgChart1"/>
    <dgm:cxn modelId="{7EEC675A-23B3-4EBE-AA60-C21084770011}" type="presParOf" srcId="{4CBFBE2A-E49D-4A7B-ADC8-03FEEFC476A9}" destId="{478812A8-6644-4BDA-9BD5-4197CB329005}" srcOrd="2" destOrd="0" presId="urn:microsoft.com/office/officeart/2005/8/layout/orgChart1"/>
    <dgm:cxn modelId="{26F00C69-177F-44DD-A557-47639CF0012E}" type="presParOf" srcId="{FF10DB19-2D38-4AA7-9618-B663B1423350}" destId="{DD6034CB-E414-4170-8B00-5686E0E374AF}" srcOrd="2" destOrd="0" presId="urn:microsoft.com/office/officeart/2005/8/layout/orgChart1"/>
    <dgm:cxn modelId="{B2A84F87-38D1-4E40-93D2-76C30EC58573}" type="presParOf" srcId="{FF10DB19-2D38-4AA7-9618-B663B1423350}" destId="{9D8527AD-E679-4383-8B4C-CC91C60E6EE1}" srcOrd="3" destOrd="0" presId="urn:microsoft.com/office/officeart/2005/8/layout/orgChart1"/>
    <dgm:cxn modelId="{1B1FA4C4-CC00-4DB5-889E-C6283638C096}" type="presParOf" srcId="{9D8527AD-E679-4383-8B4C-CC91C60E6EE1}" destId="{1190FBA8-42EB-46E4-8E8B-EB5519E379A6}" srcOrd="0" destOrd="0" presId="urn:microsoft.com/office/officeart/2005/8/layout/orgChart1"/>
    <dgm:cxn modelId="{900CDA5C-36C6-4E5D-BA1E-7ADA349743AC}" type="presParOf" srcId="{1190FBA8-42EB-46E4-8E8B-EB5519E379A6}" destId="{63FC501E-E654-41F7-BA6A-0BF70B2D3C70}" srcOrd="0" destOrd="0" presId="urn:microsoft.com/office/officeart/2005/8/layout/orgChart1"/>
    <dgm:cxn modelId="{20CB3F47-44F0-4AD3-B9B7-042FDFE4A904}" type="presParOf" srcId="{1190FBA8-42EB-46E4-8E8B-EB5519E379A6}" destId="{2C7A89E5-BCC5-49F8-9C2E-B40770C21629}" srcOrd="1" destOrd="0" presId="urn:microsoft.com/office/officeart/2005/8/layout/orgChart1"/>
    <dgm:cxn modelId="{2A8607E6-187A-44FB-9ED2-5AAED5BFAD03}" type="presParOf" srcId="{9D8527AD-E679-4383-8B4C-CC91C60E6EE1}" destId="{D826AFC1-BBC9-410E-B541-8B98E3D3FD15}" srcOrd="1" destOrd="0" presId="urn:microsoft.com/office/officeart/2005/8/layout/orgChart1"/>
    <dgm:cxn modelId="{11DDFAED-054A-4E32-90CA-52EB7805FA2C}" type="presParOf" srcId="{D826AFC1-BBC9-410E-B541-8B98E3D3FD15}" destId="{7ECEA8CD-85C0-4A0E-A40C-3A0438CC7C86}" srcOrd="0" destOrd="0" presId="urn:microsoft.com/office/officeart/2005/8/layout/orgChart1"/>
    <dgm:cxn modelId="{6ADAAB83-ADB2-4E2F-A3BC-EBB9E4E32061}" type="presParOf" srcId="{D826AFC1-BBC9-410E-B541-8B98E3D3FD15}" destId="{87812549-AABF-4D73-9A8B-37EBF8EF116C}" srcOrd="1" destOrd="0" presId="urn:microsoft.com/office/officeart/2005/8/layout/orgChart1"/>
    <dgm:cxn modelId="{3E97B2BF-9341-4729-BFFF-7E67EDE8AB15}" type="presParOf" srcId="{87812549-AABF-4D73-9A8B-37EBF8EF116C}" destId="{3415D6A5-33D8-42A5-AD9D-A1E1F4776985}" srcOrd="0" destOrd="0" presId="urn:microsoft.com/office/officeart/2005/8/layout/orgChart1"/>
    <dgm:cxn modelId="{52533137-BC01-4167-95BA-C57A0733F1D2}" type="presParOf" srcId="{3415D6A5-33D8-42A5-AD9D-A1E1F4776985}" destId="{F262B25E-D781-4D44-82CD-CC9D501578F2}" srcOrd="0" destOrd="0" presId="urn:microsoft.com/office/officeart/2005/8/layout/orgChart1"/>
    <dgm:cxn modelId="{DF76153E-226C-4A95-A6E1-34AD22F5DF2C}" type="presParOf" srcId="{3415D6A5-33D8-42A5-AD9D-A1E1F4776985}" destId="{304D762D-C028-4DB9-B788-4204A181D9A3}" srcOrd="1" destOrd="0" presId="urn:microsoft.com/office/officeart/2005/8/layout/orgChart1"/>
    <dgm:cxn modelId="{F395FC5D-12FA-49F7-B5EF-5EC5D7CD4441}" type="presParOf" srcId="{87812549-AABF-4D73-9A8B-37EBF8EF116C}" destId="{2FEEEB36-A297-473C-B198-562323531387}" srcOrd="1" destOrd="0" presId="urn:microsoft.com/office/officeart/2005/8/layout/orgChart1"/>
    <dgm:cxn modelId="{D02C28F9-30AE-443E-BB6D-CE0F7C155D74}" type="presParOf" srcId="{87812549-AABF-4D73-9A8B-37EBF8EF116C}" destId="{A33A5E1E-951D-4041-9E5F-120E0E95505E}" srcOrd="2" destOrd="0" presId="urn:microsoft.com/office/officeart/2005/8/layout/orgChart1"/>
    <dgm:cxn modelId="{79445A18-F85F-4C9D-8DC5-D7A0F8FF40C2}" type="presParOf" srcId="{D826AFC1-BBC9-410E-B541-8B98E3D3FD15}" destId="{610B7A79-132C-4674-BEC6-DB17C8FE71CA}" srcOrd="2" destOrd="0" presId="urn:microsoft.com/office/officeart/2005/8/layout/orgChart1"/>
    <dgm:cxn modelId="{1AE5DFF7-4D17-44AA-B76E-51D6099369A9}" type="presParOf" srcId="{D826AFC1-BBC9-410E-B541-8B98E3D3FD15}" destId="{EFF9300A-F41C-447E-9B35-8848F9226025}" srcOrd="3" destOrd="0" presId="urn:microsoft.com/office/officeart/2005/8/layout/orgChart1"/>
    <dgm:cxn modelId="{0068AA7E-A402-469F-8826-B202D1D5BA24}" type="presParOf" srcId="{EFF9300A-F41C-447E-9B35-8848F9226025}" destId="{586FCB4C-1C23-4C55-A4FC-2B9CB27DA8D2}" srcOrd="0" destOrd="0" presId="urn:microsoft.com/office/officeart/2005/8/layout/orgChart1"/>
    <dgm:cxn modelId="{31508058-3AB8-452B-8E31-1F48CA7484B3}" type="presParOf" srcId="{586FCB4C-1C23-4C55-A4FC-2B9CB27DA8D2}" destId="{1B48FE02-8066-4510-AB7C-F56BD51BDF4B}" srcOrd="0" destOrd="0" presId="urn:microsoft.com/office/officeart/2005/8/layout/orgChart1"/>
    <dgm:cxn modelId="{22CC4B31-9D0B-472D-B350-239B57268C58}" type="presParOf" srcId="{586FCB4C-1C23-4C55-A4FC-2B9CB27DA8D2}" destId="{F175C515-C5ED-4B79-BB93-B05E49C0C9B4}" srcOrd="1" destOrd="0" presId="urn:microsoft.com/office/officeart/2005/8/layout/orgChart1"/>
    <dgm:cxn modelId="{BF8A7E70-4478-447B-927E-18523B63BA9C}" type="presParOf" srcId="{EFF9300A-F41C-447E-9B35-8848F9226025}" destId="{79FB3EC3-D2A3-4A0E-86AC-9457964357E2}" srcOrd="1" destOrd="0" presId="urn:microsoft.com/office/officeart/2005/8/layout/orgChart1"/>
    <dgm:cxn modelId="{086A241E-7D56-4E37-8D9B-66E0137C483C}" type="presParOf" srcId="{EFF9300A-F41C-447E-9B35-8848F9226025}" destId="{7A17123B-F7FA-4082-897A-3A81A00B25F8}" srcOrd="2" destOrd="0" presId="urn:microsoft.com/office/officeart/2005/8/layout/orgChart1"/>
    <dgm:cxn modelId="{804A2163-E768-46B9-8DC9-4DD5D82AD24B}" type="presParOf" srcId="{9D8527AD-E679-4383-8B4C-CC91C60E6EE1}" destId="{7A919AB5-DA74-427B-B2CE-A7E19C5F2F89}" srcOrd="2" destOrd="0" presId="urn:microsoft.com/office/officeart/2005/8/layout/orgChart1"/>
    <dgm:cxn modelId="{BFE844F3-11F2-48BA-87F4-31A082368435}" type="presParOf" srcId="{FF10DB19-2D38-4AA7-9618-B663B1423350}" destId="{4C90B3C0-311B-4985-BF2C-4868A2BA2053}" srcOrd="4" destOrd="0" presId="urn:microsoft.com/office/officeart/2005/8/layout/orgChart1"/>
    <dgm:cxn modelId="{D273132F-2C14-4337-844C-386207662747}" type="presParOf" srcId="{FF10DB19-2D38-4AA7-9618-B663B1423350}" destId="{25704ECB-93D8-4AAC-B943-6E7B88880350}" srcOrd="5" destOrd="0" presId="urn:microsoft.com/office/officeart/2005/8/layout/orgChart1"/>
    <dgm:cxn modelId="{3FFF1111-2953-43F4-AA1D-4B7E45A143D7}" type="presParOf" srcId="{25704ECB-93D8-4AAC-B943-6E7B88880350}" destId="{1F5B4E8F-4078-402B-8BF9-03AF95F29C06}" srcOrd="0" destOrd="0" presId="urn:microsoft.com/office/officeart/2005/8/layout/orgChart1"/>
    <dgm:cxn modelId="{35F8C4B2-CFEB-4029-8BAF-D591F8616910}" type="presParOf" srcId="{1F5B4E8F-4078-402B-8BF9-03AF95F29C06}" destId="{7E66F63D-8FA6-42BB-A62A-C349B7EA69C6}" srcOrd="0" destOrd="0" presId="urn:microsoft.com/office/officeart/2005/8/layout/orgChart1"/>
    <dgm:cxn modelId="{490F9409-1A90-45C2-BA34-EB96E39CCC73}" type="presParOf" srcId="{1F5B4E8F-4078-402B-8BF9-03AF95F29C06}" destId="{BC10B860-36A0-4961-8079-9E6BE51EC74E}" srcOrd="1" destOrd="0" presId="urn:microsoft.com/office/officeart/2005/8/layout/orgChart1"/>
    <dgm:cxn modelId="{009A12F2-1DAC-4853-B1D3-CCA223B35E3D}" type="presParOf" srcId="{25704ECB-93D8-4AAC-B943-6E7B88880350}" destId="{A346BA09-C0FB-44FE-94ED-E84F1458A182}" srcOrd="1" destOrd="0" presId="urn:microsoft.com/office/officeart/2005/8/layout/orgChart1"/>
    <dgm:cxn modelId="{D746D0AB-C748-469F-B7EE-CC354480584B}" type="presParOf" srcId="{A346BA09-C0FB-44FE-94ED-E84F1458A182}" destId="{3BCCE23A-CC94-4B5F-B13D-CB73BFAE0403}" srcOrd="0" destOrd="0" presId="urn:microsoft.com/office/officeart/2005/8/layout/orgChart1"/>
    <dgm:cxn modelId="{25816BFA-C214-4EC2-94F6-824CC3B28764}" type="presParOf" srcId="{A346BA09-C0FB-44FE-94ED-E84F1458A182}" destId="{DD13E5E2-1B9C-48EC-990C-B31E25E119BE}" srcOrd="1" destOrd="0" presId="urn:microsoft.com/office/officeart/2005/8/layout/orgChart1"/>
    <dgm:cxn modelId="{600527BA-8B68-4CE0-902F-90D63C19F091}" type="presParOf" srcId="{DD13E5E2-1B9C-48EC-990C-B31E25E119BE}" destId="{93488B8D-5BB0-4299-8DA0-2B61FC1C7E27}" srcOrd="0" destOrd="0" presId="urn:microsoft.com/office/officeart/2005/8/layout/orgChart1"/>
    <dgm:cxn modelId="{C154E0E8-36E9-4BC9-8A93-AF7BAD4D959A}" type="presParOf" srcId="{93488B8D-5BB0-4299-8DA0-2B61FC1C7E27}" destId="{A45277E3-0420-4505-9B32-E8C33D91C7D0}" srcOrd="0" destOrd="0" presId="urn:microsoft.com/office/officeart/2005/8/layout/orgChart1"/>
    <dgm:cxn modelId="{A18D3C5E-5156-4EE7-9576-B6558442AC04}" type="presParOf" srcId="{93488B8D-5BB0-4299-8DA0-2B61FC1C7E27}" destId="{878837BE-515B-4E24-ACD3-D8817605E4AB}" srcOrd="1" destOrd="0" presId="urn:microsoft.com/office/officeart/2005/8/layout/orgChart1"/>
    <dgm:cxn modelId="{7C618D16-0F60-450C-BEB6-E6125B556330}" type="presParOf" srcId="{DD13E5E2-1B9C-48EC-990C-B31E25E119BE}" destId="{ABB5CCF0-7395-4275-BC58-78BEDCAA79DD}" srcOrd="1" destOrd="0" presId="urn:microsoft.com/office/officeart/2005/8/layout/orgChart1"/>
    <dgm:cxn modelId="{430883CA-C972-4603-A60D-04262DEF2CD2}" type="presParOf" srcId="{DD13E5E2-1B9C-48EC-990C-B31E25E119BE}" destId="{F3540024-B84F-40BC-B39D-B662F19D393D}" srcOrd="2" destOrd="0" presId="urn:microsoft.com/office/officeart/2005/8/layout/orgChart1"/>
    <dgm:cxn modelId="{CD038985-5D09-464C-B042-7D2FC5A09E07}" type="presParOf" srcId="{A346BA09-C0FB-44FE-94ED-E84F1458A182}" destId="{B02AF2FA-B901-4EBD-A0F4-874AF10956EF}" srcOrd="2" destOrd="0" presId="urn:microsoft.com/office/officeart/2005/8/layout/orgChart1"/>
    <dgm:cxn modelId="{5E0B81C2-2780-4465-9D82-8AFDC81952A4}" type="presParOf" srcId="{A346BA09-C0FB-44FE-94ED-E84F1458A182}" destId="{72CDDCAC-BB36-4AAE-B3BF-1B846EA96B34}" srcOrd="3" destOrd="0" presId="urn:microsoft.com/office/officeart/2005/8/layout/orgChart1"/>
    <dgm:cxn modelId="{BE370A20-0834-4939-8C8F-6E249B6E4D1A}" type="presParOf" srcId="{72CDDCAC-BB36-4AAE-B3BF-1B846EA96B34}" destId="{31FBD8F7-91CD-43D0-BAA1-D10C1D1BCFB7}" srcOrd="0" destOrd="0" presId="urn:microsoft.com/office/officeart/2005/8/layout/orgChart1"/>
    <dgm:cxn modelId="{C7D8DA77-1ED2-468E-975F-7B6F8E9FA267}" type="presParOf" srcId="{31FBD8F7-91CD-43D0-BAA1-D10C1D1BCFB7}" destId="{619A917E-2FE0-4D54-B500-A6523829D53A}" srcOrd="0" destOrd="0" presId="urn:microsoft.com/office/officeart/2005/8/layout/orgChart1"/>
    <dgm:cxn modelId="{2534CB57-F3C7-4618-8D55-A9F52FAC2D4E}" type="presParOf" srcId="{31FBD8F7-91CD-43D0-BAA1-D10C1D1BCFB7}" destId="{BF899FC6-68C7-4D71-8AE0-335BD5724311}" srcOrd="1" destOrd="0" presId="urn:microsoft.com/office/officeart/2005/8/layout/orgChart1"/>
    <dgm:cxn modelId="{4337F2A0-27E2-478B-8AB7-86ADDFBAC0AC}" type="presParOf" srcId="{72CDDCAC-BB36-4AAE-B3BF-1B846EA96B34}" destId="{FD127D19-4418-4D3A-BC7A-07E55F66BE31}" srcOrd="1" destOrd="0" presId="urn:microsoft.com/office/officeart/2005/8/layout/orgChart1"/>
    <dgm:cxn modelId="{ABE30AAF-11E3-4E20-A4BA-EEB0D9DB5863}" type="presParOf" srcId="{72CDDCAC-BB36-4AAE-B3BF-1B846EA96B34}" destId="{D642D2B4-3B37-47B7-9C6D-BEC85B949A6B}" srcOrd="2" destOrd="0" presId="urn:microsoft.com/office/officeart/2005/8/layout/orgChart1"/>
    <dgm:cxn modelId="{ED4D1895-762E-464B-8BEC-F7224BBE7EE5}" type="presParOf" srcId="{25704ECB-93D8-4AAC-B943-6E7B88880350}" destId="{53FCCA26-0AD4-4E48-8CE6-79774A255829}" srcOrd="2" destOrd="0" presId="urn:microsoft.com/office/officeart/2005/8/layout/orgChart1"/>
    <dgm:cxn modelId="{768037F5-D804-4F43-B876-30D4530A8A4E}" type="presParOf" srcId="{00081117-45A1-413A-B1E7-872F21D2B3AC}" destId="{5547612A-B87B-4711-B96B-893E928EC160}" srcOrd="2" destOrd="0" presId="urn:microsoft.com/office/officeart/2005/8/layout/orgChart1"/>
    <dgm:cxn modelId="{3E96BCB9-EE93-40C5-B28D-46BBE2852127}" type="presParOf" srcId="{7CEDCA83-5FB1-4912-AF43-4BFEBFF2F37F}" destId="{F43736C3-DC97-41E9-A92D-0C87CF3D4CE0}" srcOrd="2" destOrd="0" presId="urn:microsoft.com/office/officeart/2005/8/layout/orgChart1"/>
    <dgm:cxn modelId="{12D781EC-4833-4FEC-A50D-B1D1981DE9DE}" type="presParOf" srcId="{7CEDCA83-5FB1-4912-AF43-4BFEBFF2F37F}" destId="{BED3E687-68AB-403D-B426-F32C7E996598}" srcOrd="3" destOrd="0" presId="urn:microsoft.com/office/officeart/2005/8/layout/orgChart1"/>
    <dgm:cxn modelId="{3F244143-C97F-4B43-9DDE-044C3D4E0DC3}" type="presParOf" srcId="{BED3E687-68AB-403D-B426-F32C7E996598}" destId="{74761613-E4D7-4D7F-B11A-FA9A8563FEDB}" srcOrd="0" destOrd="0" presId="urn:microsoft.com/office/officeart/2005/8/layout/orgChart1"/>
    <dgm:cxn modelId="{3BCD6386-73E0-47E8-8AF5-341B5D0316E0}" type="presParOf" srcId="{74761613-E4D7-4D7F-B11A-FA9A8563FEDB}" destId="{8C3924C6-95D7-4CDA-A998-F6CD342F1665}" srcOrd="0" destOrd="0" presId="urn:microsoft.com/office/officeart/2005/8/layout/orgChart1"/>
    <dgm:cxn modelId="{721C3CD8-4C54-4B28-9BCC-4BD83AEBD8C4}" type="presParOf" srcId="{74761613-E4D7-4D7F-B11A-FA9A8563FEDB}" destId="{D76FD241-CC1D-4310-89BD-442A5810C12B}" srcOrd="1" destOrd="0" presId="urn:microsoft.com/office/officeart/2005/8/layout/orgChart1"/>
    <dgm:cxn modelId="{887A816C-6352-4BF6-9BFA-2A084AE121D1}" type="presParOf" srcId="{BED3E687-68AB-403D-B426-F32C7E996598}" destId="{9D6BDA83-545E-4F18-B532-2B1183EDC461}" srcOrd="1" destOrd="0" presId="urn:microsoft.com/office/officeart/2005/8/layout/orgChart1"/>
    <dgm:cxn modelId="{6E2C3F6B-D80C-4F87-9283-00DB510EE735}" type="presParOf" srcId="{9D6BDA83-545E-4F18-B532-2B1183EDC461}" destId="{03B7BB75-3081-4A5F-AE84-D0A5017A250E}" srcOrd="0" destOrd="0" presId="urn:microsoft.com/office/officeart/2005/8/layout/orgChart1"/>
    <dgm:cxn modelId="{0DBE787E-6EF0-435D-8F9F-B66CB4D9F10D}" type="presParOf" srcId="{9D6BDA83-545E-4F18-B532-2B1183EDC461}" destId="{AAE82C01-9B1E-4BDB-9AA6-F49DF2A6D565}" srcOrd="1" destOrd="0" presId="urn:microsoft.com/office/officeart/2005/8/layout/orgChart1"/>
    <dgm:cxn modelId="{ED3D30BB-081D-4E98-9291-90675111637C}" type="presParOf" srcId="{AAE82C01-9B1E-4BDB-9AA6-F49DF2A6D565}" destId="{789F8C9E-6D9D-4A5F-B33E-CF2CDDC0FE07}" srcOrd="0" destOrd="0" presId="urn:microsoft.com/office/officeart/2005/8/layout/orgChart1"/>
    <dgm:cxn modelId="{57AB03B2-B640-4F4B-B234-62915E49485A}" type="presParOf" srcId="{789F8C9E-6D9D-4A5F-B33E-CF2CDDC0FE07}" destId="{5677D944-029C-484C-80A5-13BC10A104E4}" srcOrd="0" destOrd="0" presId="urn:microsoft.com/office/officeart/2005/8/layout/orgChart1"/>
    <dgm:cxn modelId="{53EC894E-501F-47B7-B221-6D117F40CB38}" type="presParOf" srcId="{789F8C9E-6D9D-4A5F-B33E-CF2CDDC0FE07}" destId="{DED8561A-5A8E-4CBE-8FC6-607A83CFC3C4}" srcOrd="1" destOrd="0" presId="urn:microsoft.com/office/officeart/2005/8/layout/orgChart1"/>
    <dgm:cxn modelId="{ACA5E908-AD3C-49FB-8102-4D75EA72A37D}" type="presParOf" srcId="{AAE82C01-9B1E-4BDB-9AA6-F49DF2A6D565}" destId="{3831CA35-AD51-4A69-83E3-FF0577D16A5E}" srcOrd="1" destOrd="0" presId="urn:microsoft.com/office/officeart/2005/8/layout/orgChart1"/>
    <dgm:cxn modelId="{2C80D1A8-2701-4A6A-B36D-C6858321F5F9}" type="presParOf" srcId="{AAE82C01-9B1E-4BDB-9AA6-F49DF2A6D565}" destId="{82A76FF6-95A5-4DEA-B163-853D1B7CC810}" srcOrd="2" destOrd="0" presId="urn:microsoft.com/office/officeart/2005/8/layout/orgChart1"/>
    <dgm:cxn modelId="{5897407C-F903-4088-A067-359B0260EDDE}" type="presParOf" srcId="{9D6BDA83-545E-4F18-B532-2B1183EDC461}" destId="{F0E31743-868F-406B-876C-6B11BD573394}" srcOrd="2" destOrd="0" presId="urn:microsoft.com/office/officeart/2005/8/layout/orgChart1"/>
    <dgm:cxn modelId="{FC92D245-4544-4CB7-ABB2-800799D9407C}" type="presParOf" srcId="{9D6BDA83-545E-4F18-B532-2B1183EDC461}" destId="{E6309739-1F4D-4497-827A-E880C3DCA78F}" srcOrd="3" destOrd="0" presId="urn:microsoft.com/office/officeart/2005/8/layout/orgChart1"/>
    <dgm:cxn modelId="{B06E3562-90EC-4127-8787-2FABCA6D8E87}" type="presParOf" srcId="{E6309739-1F4D-4497-827A-E880C3DCA78F}" destId="{66E01AAD-E40B-443E-A412-2B238AC2E416}" srcOrd="0" destOrd="0" presId="urn:microsoft.com/office/officeart/2005/8/layout/orgChart1"/>
    <dgm:cxn modelId="{E7421E90-4B70-49DF-9B36-9656B8D686E1}" type="presParOf" srcId="{66E01AAD-E40B-443E-A412-2B238AC2E416}" destId="{B29D70E0-3C5F-46EB-8055-DA38CAFC89E3}" srcOrd="0" destOrd="0" presId="urn:microsoft.com/office/officeart/2005/8/layout/orgChart1"/>
    <dgm:cxn modelId="{E9D27F4A-2697-417F-A3C3-9432F27670B2}" type="presParOf" srcId="{66E01AAD-E40B-443E-A412-2B238AC2E416}" destId="{6816DE47-4E45-46F7-8F85-34A9EBE7EE9B}" srcOrd="1" destOrd="0" presId="urn:microsoft.com/office/officeart/2005/8/layout/orgChart1"/>
    <dgm:cxn modelId="{F8A4C8A9-2E28-408A-9D13-5EDFAF92A19D}" type="presParOf" srcId="{E6309739-1F4D-4497-827A-E880C3DCA78F}" destId="{6DF654DC-2FE0-4E06-B768-981E5096B814}" srcOrd="1" destOrd="0" presId="urn:microsoft.com/office/officeart/2005/8/layout/orgChart1"/>
    <dgm:cxn modelId="{058CC08E-714C-47AA-8F13-7E5FBA621A22}" type="presParOf" srcId="{E6309739-1F4D-4497-827A-E880C3DCA78F}" destId="{0EDBE25F-D8CF-4E86-A4A2-A241FF863533}" srcOrd="2" destOrd="0" presId="urn:microsoft.com/office/officeart/2005/8/layout/orgChart1"/>
    <dgm:cxn modelId="{FA5BA120-2512-4CC8-8343-213598919756}" type="presParOf" srcId="{9D6BDA83-545E-4F18-B532-2B1183EDC461}" destId="{2A7675F5-2BBC-4E57-B900-715F59D6F9D8}" srcOrd="4" destOrd="0" presId="urn:microsoft.com/office/officeart/2005/8/layout/orgChart1"/>
    <dgm:cxn modelId="{FD658D2F-433E-45F0-971A-2E35B54B5030}" type="presParOf" srcId="{9D6BDA83-545E-4F18-B532-2B1183EDC461}" destId="{A634CCD9-7842-43F4-ADA7-3C411BE8E635}" srcOrd="5" destOrd="0" presId="urn:microsoft.com/office/officeart/2005/8/layout/orgChart1"/>
    <dgm:cxn modelId="{F2B4B7ED-EFAF-4B12-985C-F60B50659013}" type="presParOf" srcId="{A634CCD9-7842-43F4-ADA7-3C411BE8E635}" destId="{A4BA754F-913A-4181-ADB5-181FB8C05FF8}" srcOrd="0" destOrd="0" presId="urn:microsoft.com/office/officeart/2005/8/layout/orgChart1"/>
    <dgm:cxn modelId="{E503E0F7-D6DC-43A9-940A-578F47FA0089}" type="presParOf" srcId="{A4BA754F-913A-4181-ADB5-181FB8C05FF8}" destId="{313ED6A2-462B-4141-834D-9A74299512E5}" srcOrd="0" destOrd="0" presId="urn:microsoft.com/office/officeart/2005/8/layout/orgChart1"/>
    <dgm:cxn modelId="{344D72A2-C0E1-41BB-9F3B-D3393E3C16FB}" type="presParOf" srcId="{A4BA754F-913A-4181-ADB5-181FB8C05FF8}" destId="{03E8E9C7-25A4-4E24-9CA9-CB63D43604DC}" srcOrd="1" destOrd="0" presId="urn:microsoft.com/office/officeart/2005/8/layout/orgChart1"/>
    <dgm:cxn modelId="{0F17EEE6-6D85-4A84-8777-8F69EAF9092E}" type="presParOf" srcId="{A634CCD9-7842-43F4-ADA7-3C411BE8E635}" destId="{78F9D844-8FE7-41F6-8F3A-CF84557DC90F}" srcOrd="1" destOrd="0" presId="urn:microsoft.com/office/officeart/2005/8/layout/orgChart1"/>
    <dgm:cxn modelId="{5D8ADD72-BFB8-439A-A912-12867BCDCB5E}" type="presParOf" srcId="{A634CCD9-7842-43F4-ADA7-3C411BE8E635}" destId="{6949C889-9FDE-4745-9E32-1FB0017B7EB5}" srcOrd="2" destOrd="0" presId="urn:microsoft.com/office/officeart/2005/8/layout/orgChart1"/>
    <dgm:cxn modelId="{CF461027-44FC-4413-9A07-025DAE218DA6}" type="presParOf" srcId="{BED3E687-68AB-403D-B426-F32C7E996598}" destId="{5616E69B-D4D1-4D6E-9D00-2C6F18F25F19}" srcOrd="2" destOrd="0" presId="urn:microsoft.com/office/officeart/2005/8/layout/orgChart1"/>
    <dgm:cxn modelId="{3BB4C8B1-46EF-49C7-8B7E-3E7D7E787876}" type="presParOf" srcId="{7CEDCA83-5FB1-4912-AF43-4BFEBFF2F37F}" destId="{5F082D60-CC48-413C-8900-CCAAFA96DCD6}" srcOrd="4" destOrd="0" presId="urn:microsoft.com/office/officeart/2005/8/layout/orgChart1"/>
    <dgm:cxn modelId="{EA10E24A-D0BB-4308-BAB2-37871A198FC8}" type="presParOf" srcId="{7CEDCA83-5FB1-4912-AF43-4BFEBFF2F37F}" destId="{04EC3DAB-18E8-4156-B8E4-4C59A7143B86}" srcOrd="5" destOrd="0" presId="urn:microsoft.com/office/officeart/2005/8/layout/orgChart1"/>
    <dgm:cxn modelId="{C32A224B-979E-4A73-BD8F-9405F09D159A}" type="presParOf" srcId="{04EC3DAB-18E8-4156-B8E4-4C59A7143B86}" destId="{8E6DCB4B-A124-4449-B56C-9A28D31B941E}" srcOrd="0" destOrd="0" presId="urn:microsoft.com/office/officeart/2005/8/layout/orgChart1"/>
    <dgm:cxn modelId="{B0890D3E-4CDB-4FA8-89DA-84C016D7F42C}" type="presParOf" srcId="{8E6DCB4B-A124-4449-B56C-9A28D31B941E}" destId="{FB8A078E-B2AD-4CEF-B649-EE1D8B296623}" srcOrd="0" destOrd="0" presId="urn:microsoft.com/office/officeart/2005/8/layout/orgChart1"/>
    <dgm:cxn modelId="{B3A86CA7-2E74-4A12-8340-00855B33C482}" type="presParOf" srcId="{8E6DCB4B-A124-4449-B56C-9A28D31B941E}" destId="{E6CDEAD0-CEC9-44F0-B32C-36EE4AF57253}" srcOrd="1" destOrd="0" presId="urn:microsoft.com/office/officeart/2005/8/layout/orgChart1"/>
    <dgm:cxn modelId="{60AEBD2E-FDA0-41BD-85AD-E07FA76CC2A9}" type="presParOf" srcId="{04EC3DAB-18E8-4156-B8E4-4C59A7143B86}" destId="{14C75AB6-196D-4B11-ADB5-CBA632972A58}" srcOrd="1" destOrd="0" presId="urn:microsoft.com/office/officeart/2005/8/layout/orgChart1"/>
    <dgm:cxn modelId="{C79848E1-CA70-43DB-8932-3A54C5B8D73B}" type="presParOf" srcId="{14C75AB6-196D-4B11-ADB5-CBA632972A58}" destId="{374A45A3-F760-4C0A-96C3-EA44E0B95103}" srcOrd="0" destOrd="0" presId="urn:microsoft.com/office/officeart/2005/8/layout/orgChart1"/>
    <dgm:cxn modelId="{EE98FECC-2D92-4923-80C4-3A8C2C80439D}" type="presParOf" srcId="{14C75AB6-196D-4B11-ADB5-CBA632972A58}" destId="{B38A7F84-4BFD-4C12-8AD6-B8057318B1AB}" srcOrd="1" destOrd="0" presId="urn:microsoft.com/office/officeart/2005/8/layout/orgChart1"/>
    <dgm:cxn modelId="{2385672B-06C0-47CE-A30A-4F66AF8565BD}" type="presParOf" srcId="{B38A7F84-4BFD-4C12-8AD6-B8057318B1AB}" destId="{09539B0C-DD06-4B17-AD06-E1388041201E}" srcOrd="0" destOrd="0" presId="urn:microsoft.com/office/officeart/2005/8/layout/orgChart1"/>
    <dgm:cxn modelId="{21A920F8-6134-4A15-B74C-F9D55FC545B3}" type="presParOf" srcId="{09539B0C-DD06-4B17-AD06-E1388041201E}" destId="{5EF3B480-E935-4555-B3CF-B0EEC2DD1246}" srcOrd="0" destOrd="0" presId="urn:microsoft.com/office/officeart/2005/8/layout/orgChart1"/>
    <dgm:cxn modelId="{73ED246D-9D91-42A0-8CD6-12E4249E0BA7}" type="presParOf" srcId="{09539B0C-DD06-4B17-AD06-E1388041201E}" destId="{EDDDFF92-DBE7-4D93-B07E-41CBE5E88BAD}" srcOrd="1" destOrd="0" presId="urn:microsoft.com/office/officeart/2005/8/layout/orgChart1"/>
    <dgm:cxn modelId="{00824B46-2839-49FA-9E9A-CF1D5BB30D99}" type="presParOf" srcId="{B38A7F84-4BFD-4C12-8AD6-B8057318B1AB}" destId="{D4F44F7A-5848-4FC9-842E-D2E4AA036C94}" srcOrd="1" destOrd="0" presId="urn:microsoft.com/office/officeart/2005/8/layout/orgChart1"/>
    <dgm:cxn modelId="{6FD4EC02-BE20-4CE4-BF9F-0494EBFFB8D6}" type="presParOf" srcId="{B38A7F84-4BFD-4C12-8AD6-B8057318B1AB}" destId="{D7807BFB-2334-4967-A9DF-396281E8F386}" srcOrd="2" destOrd="0" presId="urn:microsoft.com/office/officeart/2005/8/layout/orgChart1"/>
    <dgm:cxn modelId="{31F32FBD-8E26-483C-9FEA-56700835EBC7}" type="presParOf" srcId="{14C75AB6-196D-4B11-ADB5-CBA632972A58}" destId="{859C8F32-68AE-41D1-8F21-AF2ADD282176}" srcOrd="2" destOrd="0" presId="urn:microsoft.com/office/officeart/2005/8/layout/orgChart1"/>
    <dgm:cxn modelId="{EF554065-A022-441A-B1B0-E644129AF456}" type="presParOf" srcId="{14C75AB6-196D-4B11-ADB5-CBA632972A58}" destId="{BFF9784B-3E0A-4CF9-BE9C-FC010035E70C}" srcOrd="3" destOrd="0" presId="urn:microsoft.com/office/officeart/2005/8/layout/orgChart1"/>
    <dgm:cxn modelId="{D6DA8D7A-590B-4256-A0CC-6493EC6386E3}" type="presParOf" srcId="{BFF9784B-3E0A-4CF9-BE9C-FC010035E70C}" destId="{915A9CAB-388D-4A5A-A5CB-8F9551952D93}" srcOrd="0" destOrd="0" presId="urn:microsoft.com/office/officeart/2005/8/layout/orgChart1"/>
    <dgm:cxn modelId="{F76DB155-9EEE-4A75-84D0-B44CFDD1D189}" type="presParOf" srcId="{915A9CAB-388D-4A5A-A5CB-8F9551952D93}" destId="{A58FAC38-F844-4ED7-8E05-301D65C37F2F}" srcOrd="0" destOrd="0" presId="urn:microsoft.com/office/officeart/2005/8/layout/orgChart1"/>
    <dgm:cxn modelId="{591F1C47-45D2-4E1F-8B07-F681210CB7CF}" type="presParOf" srcId="{915A9CAB-388D-4A5A-A5CB-8F9551952D93}" destId="{4A49625A-EA0D-4080-8F6A-1E53C4CB449C}" srcOrd="1" destOrd="0" presId="urn:microsoft.com/office/officeart/2005/8/layout/orgChart1"/>
    <dgm:cxn modelId="{CE50174D-7FA6-4291-B321-AEB3A27C7672}" type="presParOf" srcId="{BFF9784B-3E0A-4CF9-BE9C-FC010035E70C}" destId="{AC26EC8E-592A-478E-A060-5EE3D973AA4C}" srcOrd="1" destOrd="0" presId="urn:microsoft.com/office/officeart/2005/8/layout/orgChart1"/>
    <dgm:cxn modelId="{6D94E21B-DFCC-4A6B-8135-8B678CA61768}" type="presParOf" srcId="{AC26EC8E-592A-478E-A060-5EE3D973AA4C}" destId="{AAF14733-7772-4221-A3F0-B49E68B56A28}" srcOrd="0" destOrd="0" presId="urn:microsoft.com/office/officeart/2005/8/layout/orgChart1"/>
    <dgm:cxn modelId="{CC5FA20D-F768-4308-9A2A-81E374CA4069}" type="presParOf" srcId="{AC26EC8E-592A-478E-A060-5EE3D973AA4C}" destId="{FFB51502-1036-4630-8505-3997E874DD93}" srcOrd="1" destOrd="0" presId="urn:microsoft.com/office/officeart/2005/8/layout/orgChart1"/>
    <dgm:cxn modelId="{A947D098-2A97-43AB-B465-4515B9ECF75A}" type="presParOf" srcId="{FFB51502-1036-4630-8505-3997E874DD93}" destId="{C43C2852-48E8-4A5E-AD4E-EE7E64E812EB}" srcOrd="0" destOrd="0" presId="urn:microsoft.com/office/officeart/2005/8/layout/orgChart1"/>
    <dgm:cxn modelId="{07EC9A66-DD9B-465A-B559-298B33185EC6}" type="presParOf" srcId="{C43C2852-48E8-4A5E-AD4E-EE7E64E812EB}" destId="{25C1F27A-1E2D-4892-BB4F-57A7E4F11EDF}" srcOrd="0" destOrd="0" presId="urn:microsoft.com/office/officeart/2005/8/layout/orgChart1"/>
    <dgm:cxn modelId="{1B5332B9-E53F-4884-8E8F-D8634C2EBD8B}" type="presParOf" srcId="{C43C2852-48E8-4A5E-AD4E-EE7E64E812EB}" destId="{DF1B4D46-6B4C-4E13-87A0-8C66A3638BAA}" srcOrd="1" destOrd="0" presId="urn:microsoft.com/office/officeart/2005/8/layout/orgChart1"/>
    <dgm:cxn modelId="{1E98B1A4-4314-4E4F-BE01-50DB0974773F}" type="presParOf" srcId="{FFB51502-1036-4630-8505-3997E874DD93}" destId="{65966E55-D924-4D7D-A156-54B39C3F9ED4}" srcOrd="1" destOrd="0" presId="urn:microsoft.com/office/officeart/2005/8/layout/orgChart1"/>
    <dgm:cxn modelId="{47648D71-1893-43D2-9DD2-9BDBA178C9D6}" type="presParOf" srcId="{FFB51502-1036-4630-8505-3997E874DD93}" destId="{ACDB778C-B25A-4EEF-B245-0515846336BF}" srcOrd="2" destOrd="0" presId="urn:microsoft.com/office/officeart/2005/8/layout/orgChart1"/>
    <dgm:cxn modelId="{814AFA82-E935-462E-9CCB-625F5E90CF8C}" type="presParOf" srcId="{AC26EC8E-592A-478E-A060-5EE3D973AA4C}" destId="{B6489E13-5EBB-46EA-BAD7-DF8FF1BD9538}" srcOrd="2" destOrd="0" presId="urn:microsoft.com/office/officeart/2005/8/layout/orgChart1"/>
    <dgm:cxn modelId="{3D4CE254-F9E7-4BCA-9851-5A0C75A4DED7}" type="presParOf" srcId="{AC26EC8E-592A-478E-A060-5EE3D973AA4C}" destId="{A688714A-BC39-42F4-9BFE-238E07F857B5}" srcOrd="3" destOrd="0" presId="urn:microsoft.com/office/officeart/2005/8/layout/orgChart1"/>
    <dgm:cxn modelId="{500B57FF-954B-4E38-95AE-BAFEFA62BF28}" type="presParOf" srcId="{A688714A-BC39-42F4-9BFE-238E07F857B5}" destId="{EDDFF759-A286-4F50-AB2C-988002415CB9}" srcOrd="0" destOrd="0" presId="urn:microsoft.com/office/officeart/2005/8/layout/orgChart1"/>
    <dgm:cxn modelId="{50C65FED-97D0-4B97-861D-DD54C2C1CD07}" type="presParOf" srcId="{EDDFF759-A286-4F50-AB2C-988002415CB9}" destId="{DD7130DD-593A-4323-998D-55A96692D1AD}" srcOrd="0" destOrd="0" presId="urn:microsoft.com/office/officeart/2005/8/layout/orgChart1"/>
    <dgm:cxn modelId="{587EF00F-6448-4643-A9FE-4331E18A25FD}" type="presParOf" srcId="{EDDFF759-A286-4F50-AB2C-988002415CB9}" destId="{CC79A65C-021F-416B-8170-45C80F66D6E8}" srcOrd="1" destOrd="0" presId="urn:microsoft.com/office/officeart/2005/8/layout/orgChart1"/>
    <dgm:cxn modelId="{4E07B7A8-3795-42BC-9C5C-04E822200CB6}" type="presParOf" srcId="{A688714A-BC39-42F4-9BFE-238E07F857B5}" destId="{1C655490-F002-4360-9641-2D59473C0E16}" srcOrd="1" destOrd="0" presId="urn:microsoft.com/office/officeart/2005/8/layout/orgChart1"/>
    <dgm:cxn modelId="{3CF29FAF-D972-48A7-8237-BBFC4CF8DDFA}" type="presParOf" srcId="{A688714A-BC39-42F4-9BFE-238E07F857B5}" destId="{887821ED-2E3D-4444-8567-FECAC8D044DA}" srcOrd="2" destOrd="0" presId="urn:microsoft.com/office/officeart/2005/8/layout/orgChart1"/>
    <dgm:cxn modelId="{012240E4-3E28-4788-BA5C-72F928609AB4}" type="presParOf" srcId="{AC26EC8E-592A-478E-A060-5EE3D973AA4C}" destId="{AAB28D6A-8651-4C2D-A93F-547F675057B1}" srcOrd="4" destOrd="0" presId="urn:microsoft.com/office/officeart/2005/8/layout/orgChart1"/>
    <dgm:cxn modelId="{8FD2AFBE-0436-47CF-858E-AC9B85E49126}" type="presParOf" srcId="{AC26EC8E-592A-478E-A060-5EE3D973AA4C}" destId="{FDD37F11-1C21-4775-BDF3-129BCBC09A3A}" srcOrd="5" destOrd="0" presId="urn:microsoft.com/office/officeart/2005/8/layout/orgChart1"/>
    <dgm:cxn modelId="{18D0E5B4-67E5-4909-938B-927B86D2072F}" type="presParOf" srcId="{FDD37F11-1C21-4775-BDF3-129BCBC09A3A}" destId="{FCD25E20-914E-4CE0-902C-00E98C43450B}" srcOrd="0" destOrd="0" presId="urn:microsoft.com/office/officeart/2005/8/layout/orgChart1"/>
    <dgm:cxn modelId="{DCC72615-949C-4005-A28F-EDF39ACC59CF}" type="presParOf" srcId="{FCD25E20-914E-4CE0-902C-00E98C43450B}" destId="{4C681653-6A95-44B8-8E18-604E239A8921}" srcOrd="0" destOrd="0" presId="urn:microsoft.com/office/officeart/2005/8/layout/orgChart1"/>
    <dgm:cxn modelId="{6F0E60F3-2CF7-457E-B26D-6DC4C650E143}" type="presParOf" srcId="{FCD25E20-914E-4CE0-902C-00E98C43450B}" destId="{4A26C2DD-ECFA-481B-9EC4-D765867E3F5D}" srcOrd="1" destOrd="0" presId="urn:microsoft.com/office/officeart/2005/8/layout/orgChart1"/>
    <dgm:cxn modelId="{76F4A0D7-438A-401F-9241-61B91D0E3FEB}" type="presParOf" srcId="{FDD37F11-1C21-4775-BDF3-129BCBC09A3A}" destId="{5597CB20-0B74-40E6-B3E3-0781339B0A29}" srcOrd="1" destOrd="0" presId="urn:microsoft.com/office/officeart/2005/8/layout/orgChart1"/>
    <dgm:cxn modelId="{F25B3EF5-3859-471E-9432-8D78DB2EC122}" type="presParOf" srcId="{FDD37F11-1C21-4775-BDF3-129BCBC09A3A}" destId="{6B8C6D94-65A1-4C27-AF0E-CB730DBB3943}" srcOrd="2" destOrd="0" presId="urn:microsoft.com/office/officeart/2005/8/layout/orgChart1"/>
    <dgm:cxn modelId="{FFF915D5-2E08-4BF6-9D3B-2750A27EC258}" type="presParOf" srcId="{BFF9784B-3E0A-4CF9-BE9C-FC010035E70C}" destId="{7C1E7FEE-F303-4C06-A5EA-4B89AB6E9F40}" srcOrd="2" destOrd="0" presId="urn:microsoft.com/office/officeart/2005/8/layout/orgChart1"/>
    <dgm:cxn modelId="{4B08B53D-A31E-4D4F-B9DA-3B72A2A8BE49}" type="presParOf" srcId="{04EC3DAB-18E8-4156-B8E4-4C59A7143B86}" destId="{292B17F6-3B17-409D-BDF6-F3FA5C93D47E}" srcOrd="2" destOrd="0" presId="urn:microsoft.com/office/officeart/2005/8/layout/orgChart1"/>
    <dgm:cxn modelId="{0D19E73A-FB9E-449D-917D-6A9EADA94280}" type="presParOf" srcId="{F6F7935D-6530-4593-AE5C-8F4559AFEF00}" destId="{09A91909-8447-4F2B-B1BB-18494BA2637D}" srcOrd="2" destOrd="0" presId="urn:microsoft.com/office/officeart/2005/8/layout/orgChar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AB28D6A-8651-4C2D-A93F-547F675057B1}">
      <dsp:nvSpPr>
        <dsp:cNvPr id="0" name=""/>
        <dsp:cNvSpPr/>
      </dsp:nvSpPr>
      <dsp:spPr>
        <a:xfrm>
          <a:off x="7145470" y="2400785"/>
          <a:ext cx="161152" cy="20197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9783"/>
              </a:lnTo>
              <a:lnTo>
                <a:pt x="161152" y="201978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489E13-5EBB-46EA-BAD7-DF8FF1BD9538}">
      <dsp:nvSpPr>
        <dsp:cNvPr id="0" name=""/>
        <dsp:cNvSpPr/>
      </dsp:nvSpPr>
      <dsp:spPr>
        <a:xfrm>
          <a:off x="7145470" y="2400785"/>
          <a:ext cx="161152" cy="12569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6993"/>
              </a:lnTo>
              <a:lnTo>
                <a:pt x="161152" y="125699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F14733-7772-4221-A3F0-B49E68B56A28}">
      <dsp:nvSpPr>
        <dsp:cNvPr id="0" name=""/>
        <dsp:cNvSpPr/>
      </dsp:nvSpPr>
      <dsp:spPr>
        <a:xfrm>
          <a:off x="7145470" y="2400785"/>
          <a:ext cx="161152" cy="494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202"/>
              </a:lnTo>
              <a:lnTo>
                <a:pt x="161152" y="49420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9C8F32-68AE-41D1-8F21-AF2ADD282176}">
      <dsp:nvSpPr>
        <dsp:cNvPr id="0" name=""/>
        <dsp:cNvSpPr/>
      </dsp:nvSpPr>
      <dsp:spPr>
        <a:xfrm>
          <a:off x="6925228" y="1637995"/>
          <a:ext cx="649983" cy="225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807"/>
              </a:lnTo>
              <a:lnTo>
                <a:pt x="649983" y="112807"/>
              </a:lnTo>
              <a:lnTo>
                <a:pt x="649983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4A45A3-F760-4C0A-96C3-EA44E0B95103}">
      <dsp:nvSpPr>
        <dsp:cNvPr id="0" name=""/>
        <dsp:cNvSpPr/>
      </dsp:nvSpPr>
      <dsp:spPr>
        <a:xfrm>
          <a:off x="6275244" y="1637995"/>
          <a:ext cx="649983" cy="225614"/>
        </a:xfrm>
        <a:custGeom>
          <a:avLst/>
          <a:gdLst/>
          <a:ahLst/>
          <a:cxnLst/>
          <a:rect l="0" t="0" r="0" b="0"/>
          <a:pathLst>
            <a:path>
              <a:moveTo>
                <a:pt x="649983" y="0"/>
              </a:moveTo>
              <a:lnTo>
                <a:pt x="649983" y="112807"/>
              </a:lnTo>
              <a:lnTo>
                <a:pt x="0" y="112807"/>
              </a:lnTo>
              <a:lnTo>
                <a:pt x="0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082D60-CC48-413C-8900-CCAAFA96DCD6}">
      <dsp:nvSpPr>
        <dsp:cNvPr id="0" name=""/>
        <dsp:cNvSpPr/>
      </dsp:nvSpPr>
      <dsp:spPr>
        <a:xfrm>
          <a:off x="4340802" y="691028"/>
          <a:ext cx="2584426" cy="4097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6983"/>
              </a:lnTo>
              <a:lnTo>
                <a:pt x="2584426" y="296983"/>
              </a:lnTo>
              <a:lnTo>
                <a:pt x="2584426" y="40979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7675F5-2BBC-4E57-B900-715F59D6F9D8}">
      <dsp:nvSpPr>
        <dsp:cNvPr id="0" name=""/>
        <dsp:cNvSpPr/>
      </dsp:nvSpPr>
      <dsp:spPr>
        <a:xfrm>
          <a:off x="4249908" y="1637995"/>
          <a:ext cx="188192" cy="2987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87732"/>
              </a:lnTo>
              <a:lnTo>
                <a:pt x="188192" y="298773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E31743-868F-406B-876C-6B11BD573394}">
      <dsp:nvSpPr>
        <dsp:cNvPr id="0" name=""/>
        <dsp:cNvSpPr/>
      </dsp:nvSpPr>
      <dsp:spPr>
        <a:xfrm>
          <a:off x="4249908" y="1637995"/>
          <a:ext cx="188192" cy="16393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39395"/>
              </a:lnTo>
              <a:lnTo>
                <a:pt x="188192" y="163939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B7BB75-3081-4A5F-AE84-D0A5017A250E}">
      <dsp:nvSpPr>
        <dsp:cNvPr id="0" name=""/>
        <dsp:cNvSpPr/>
      </dsp:nvSpPr>
      <dsp:spPr>
        <a:xfrm>
          <a:off x="4249908" y="1637995"/>
          <a:ext cx="188192" cy="494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202"/>
              </a:lnTo>
              <a:lnTo>
                <a:pt x="188192" y="49420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3736C3-DC97-41E9-A92D-0C87CF3D4CE0}">
      <dsp:nvSpPr>
        <dsp:cNvPr id="0" name=""/>
        <dsp:cNvSpPr/>
      </dsp:nvSpPr>
      <dsp:spPr>
        <a:xfrm>
          <a:off x="4340802" y="691028"/>
          <a:ext cx="410953" cy="4097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6983"/>
              </a:lnTo>
              <a:lnTo>
                <a:pt x="410953" y="296983"/>
              </a:lnTo>
              <a:lnTo>
                <a:pt x="410953" y="40979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2AF2FA-B901-4EBD-A0F4-874AF10956EF}">
      <dsp:nvSpPr>
        <dsp:cNvPr id="0" name=""/>
        <dsp:cNvSpPr/>
      </dsp:nvSpPr>
      <dsp:spPr>
        <a:xfrm>
          <a:off x="2976981" y="2695754"/>
          <a:ext cx="161152" cy="15519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1962"/>
              </a:lnTo>
              <a:lnTo>
                <a:pt x="161152" y="155196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CCE23A-CC94-4B5F-B13D-CB73BFAE0403}">
      <dsp:nvSpPr>
        <dsp:cNvPr id="0" name=""/>
        <dsp:cNvSpPr/>
      </dsp:nvSpPr>
      <dsp:spPr>
        <a:xfrm>
          <a:off x="2976981" y="2695754"/>
          <a:ext cx="161152" cy="6416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686"/>
              </a:lnTo>
              <a:lnTo>
                <a:pt x="161152" y="641686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90B3C0-311B-4985-BF2C-4868A2BA2053}">
      <dsp:nvSpPr>
        <dsp:cNvPr id="0" name=""/>
        <dsp:cNvSpPr/>
      </dsp:nvSpPr>
      <dsp:spPr>
        <a:xfrm>
          <a:off x="1972460" y="1637995"/>
          <a:ext cx="1434261" cy="225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807"/>
              </a:lnTo>
              <a:lnTo>
                <a:pt x="1434261" y="112807"/>
              </a:lnTo>
              <a:lnTo>
                <a:pt x="1434261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0B7A79-132C-4674-BEC6-DB17C8FE71CA}">
      <dsp:nvSpPr>
        <dsp:cNvPr id="0" name=""/>
        <dsp:cNvSpPr/>
      </dsp:nvSpPr>
      <dsp:spPr>
        <a:xfrm>
          <a:off x="1408425" y="2400785"/>
          <a:ext cx="161152" cy="13938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3806"/>
              </a:lnTo>
              <a:lnTo>
                <a:pt x="161152" y="1393806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CEA8CD-85C0-4A0E-A40C-3A0438CC7C86}">
      <dsp:nvSpPr>
        <dsp:cNvPr id="0" name=""/>
        <dsp:cNvSpPr/>
      </dsp:nvSpPr>
      <dsp:spPr>
        <a:xfrm>
          <a:off x="1408425" y="2400785"/>
          <a:ext cx="161152" cy="494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202"/>
              </a:lnTo>
              <a:lnTo>
                <a:pt x="161152" y="49420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6034CB-E414-4170-8B00-5686E0E374AF}">
      <dsp:nvSpPr>
        <dsp:cNvPr id="0" name=""/>
        <dsp:cNvSpPr/>
      </dsp:nvSpPr>
      <dsp:spPr>
        <a:xfrm>
          <a:off x="1838166" y="1637995"/>
          <a:ext cx="134294" cy="225614"/>
        </a:xfrm>
        <a:custGeom>
          <a:avLst/>
          <a:gdLst/>
          <a:ahLst/>
          <a:cxnLst/>
          <a:rect l="0" t="0" r="0" b="0"/>
          <a:pathLst>
            <a:path>
              <a:moveTo>
                <a:pt x="134294" y="0"/>
              </a:moveTo>
              <a:lnTo>
                <a:pt x="134294" y="112807"/>
              </a:lnTo>
              <a:lnTo>
                <a:pt x="0" y="112807"/>
              </a:lnTo>
              <a:lnTo>
                <a:pt x="0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2BD802-BF83-415A-AED6-A8AEE65C718B}">
      <dsp:nvSpPr>
        <dsp:cNvPr id="0" name=""/>
        <dsp:cNvSpPr/>
      </dsp:nvSpPr>
      <dsp:spPr>
        <a:xfrm>
          <a:off x="108458" y="2780816"/>
          <a:ext cx="161152" cy="15813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1361"/>
              </a:lnTo>
              <a:lnTo>
                <a:pt x="161152" y="158136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285E9D-B462-4456-8ED7-DDC2E8C76837}">
      <dsp:nvSpPr>
        <dsp:cNvPr id="0" name=""/>
        <dsp:cNvSpPr/>
      </dsp:nvSpPr>
      <dsp:spPr>
        <a:xfrm>
          <a:off x="108458" y="2780816"/>
          <a:ext cx="161152" cy="6563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6386"/>
              </a:lnTo>
              <a:lnTo>
                <a:pt x="161152" y="656386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2F14F4-F80C-499C-898D-658D05F28B49}">
      <dsp:nvSpPr>
        <dsp:cNvPr id="0" name=""/>
        <dsp:cNvSpPr/>
      </dsp:nvSpPr>
      <dsp:spPr>
        <a:xfrm>
          <a:off x="538199" y="1637995"/>
          <a:ext cx="1434261" cy="225614"/>
        </a:xfrm>
        <a:custGeom>
          <a:avLst/>
          <a:gdLst/>
          <a:ahLst/>
          <a:cxnLst/>
          <a:rect l="0" t="0" r="0" b="0"/>
          <a:pathLst>
            <a:path>
              <a:moveTo>
                <a:pt x="1434261" y="0"/>
              </a:moveTo>
              <a:lnTo>
                <a:pt x="1434261" y="112807"/>
              </a:lnTo>
              <a:lnTo>
                <a:pt x="0" y="112807"/>
              </a:lnTo>
              <a:lnTo>
                <a:pt x="0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55980-77AF-44D0-A3F7-3BC269961AEC}">
      <dsp:nvSpPr>
        <dsp:cNvPr id="0" name=""/>
        <dsp:cNvSpPr/>
      </dsp:nvSpPr>
      <dsp:spPr>
        <a:xfrm>
          <a:off x="1972460" y="691028"/>
          <a:ext cx="2368341" cy="409790"/>
        </a:xfrm>
        <a:custGeom>
          <a:avLst/>
          <a:gdLst/>
          <a:ahLst/>
          <a:cxnLst/>
          <a:rect l="0" t="0" r="0" b="0"/>
          <a:pathLst>
            <a:path>
              <a:moveTo>
                <a:pt x="2368341" y="0"/>
              </a:moveTo>
              <a:lnTo>
                <a:pt x="2368341" y="296983"/>
              </a:lnTo>
              <a:lnTo>
                <a:pt x="0" y="296983"/>
              </a:lnTo>
              <a:lnTo>
                <a:pt x="0" y="40979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BA7490-6ACB-4B33-883C-6FA120FC9D65}">
      <dsp:nvSpPr>
        <dsp:cNvPr id="0" name=""/>
        <dsp:cNvSpPr/>
      </dsp:nvSpPr>
      <dsp:spPr>
        <a:xfrm>
          <a:off x="3411583" y="153851"/>
          <a:ext cx="1858437" cy="53717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erformance</a:t>
          </a:r>
          <a:endParaRPr lang="en-US" sz="2400" kern="1200" dirty="0"/>
        </a:p>
      </dsp:txBody>
      <dsp:txXfrm>
        <a:off x="3411583" y="153851"/>
        <a:ext cx="1858437" cy="537176"/>
      </dsp:txXfrm>
    </dsp:sp>
    <dsp:sp modelId="{029320F6-83FB-4A89-9054-D9E9E12EE9BC}">
      <dsp:nvSpPr>
        <dsp:cNvPr id="0" name=""/>
        <dsp:cNvSpPr/>
      </dsp:nvSpPr>
      <dsp:spPr>
        <a:xfrm>
          <a:off x="1219199" y="1100818"/>
          <a:ext cx="1506522" cy="53717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Control Resource Demand</a:t>
          </a:r>
          <a:endParaRPr lang="en-US" sz="1600" kern="1200"/>
        </a:p>
      </dsp:txBody>
      <dsp:txXfrm>
        <a:off x="1219199" y="1100818"/>
        <a:ext cx="1506522" cy="537176"/>
      </dsp:txXfrm>
    </dsp:sp>
    <dsp:sp modelId="{5A63B776-8325-407C-949F-EF4E998D6E29}">
      <dsp:nvSpPr>
        <dsp:cNvPr id="0" name=""/>
        <dsp:cNvSpPr/>
      </dsp:nvSpPr>
      <dsp:spPr>
        <a:xfrm>
          <a:off x="1023" y="1863609"/>
          <a:ext cx="1074353" cy="917207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duce resource </a:t>
          </a:r>
          <a:r>
            <a:rPr lang="en-US" sz="1600" kern="1200" dirty="0" err="1" smtClean="0"/>
            <a:t>reqd</a:t>
          </a:r>
          <a:endParaRPr lang="en-US" sz="1600" kern="1200" dirty="0"/>
        </a:p>
      </dsp:txBody>
      <dsp:txXfrm>
        <a:off x="1023" y="1863609"/>
        <a:ext cx="1074353" cy="917207"/>
      </dsp:txXfrm>
    </dsp:sp>
    <dsp:sp modelId="{EC11BC86-6BAE-45D5-BE76-F78A05459AB0}">
      <dsp:nvSpPr>
        <dsp:cNvPr id="0" name=""/>
        <dsp:cNvSpPr/>
      </dsp:nvSpPr>
      <dsp:spPr>
        <a:xfrm>
          <a:off x="269611" y="3006430"/>
          <a:ext cx="1074353" cy="861545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crease in compute efficiency</a:t>
          </a:r>
          <a:endParaRPr lang="en-US" sz="1600" kern="1200" dirty="0"/>
        </a:p>
      </dsp:txBody>
      <dsp:txXfrm>
        <a:off x="269611" y="3006430"/>
        <a:ext cx="1074353" cy="861545"/>
      </dsp:txXfrm>
    </dsp:sp>
    <dsp:sp modelId="{C7CAA8CC-E8AB-4416-AC75-95F821E67A5E}">
      <dsp:nvSpPr>
        <dsp:cNvPr id="0" name=""/>
        <dsp:cNvSpPr/>
      </dsp:nvSpPr>
      <dsp:spPr>
        <a:xfrm>
          <a:off x="269611" y="4093590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Reduce overhead</a:t>
          </a:r>
          <a:endParaRPr lang="en-US" sz="1600" kern="1200"/>
        </a:p>
      </dsp:txBody>
      <dsp:txXfrm>
        <a:off x="269611" y="4093590"/>
        <a:ext cx="1074353" cy="537176"/>
      </dsp:txXfrm>
    </dsp:sp>
    <dsp:sp modelId="{63FC501E-E654-41F7-BA6A-0BF70B2D3C70}">
      <dsp:nvSpPr>
        <dsp:cNvPr id="0" name=""/>
        <dsp:cNvSpPr/>
      </dsp:nvSpPr>
      <dsp:spPr>
        <a:xfrm>
          <a:off x="1300990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Reduce #of events</a:t>
          </a:r>
          <a:endParaRPr lang="en-US" sz="1600" kern="1200"/>
        </a:p>
      </dsp:txBody>
      <dsp:txXfrm>
        <a:off x="1300990" y="1863609"/>
        <a:ext cx="1074353" cy="537176"/>
      </dsp:txXfrm>
    </dsp:sp>
    <dsp:sp modelId="{F262B25E-D781-4D44-82CD-CC9D501578F2}">
      <dsp:nvSpPr>
        <dsp:cNvPr id="0" name=""/>
        <dsp:cNvSpPr/>
      </dsp:nvSpPr>
      <dsp:spPr>
        <a:xfrm>
          <a:off x="1569578" y="2626399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Manage event rate</a:t>
          </a:r>
          <a:endParaRPr lang="en-US" sz="1600" kern="1200"/>
        </a:p>
      </dsp:txBody>
      <dsp:txXfrm>
        <a:off x="1569578" y="2626399"/>
        <a:ext cx="1074353" cy="537176"/>
      </dsp:txXfrm>
    </dsp:sp>
    <dsp:sp modelId="{1B48FE02-8066-4510-AB7C-F56BD51BDF4B}">
      <dsp:nvSpPr>
        <dsp:cNvPr id="0" name=""/>
        <dsp:cNvSpPr/>
      </dsp:nvSpPr>
      <dsp:spPr>
        <a:xfrm>
          <a:off x="1569578" y="3389190"/>
          <a:ext cx="1074353" cy="810803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ntrol sampling </a:t>
          </a:r>
          <a:r>
            <a:rPr lang="en-US" sz="1600" kern="1200" dirty="0" err="1" smtClean="0"/>
            <a:t>freq</a:t>
          </a:r>
          <a:endParaRPr lang="en-US" sz="1600" kern="1200" dirty="0"/>
        </a:p>
      </dsp:txBody>
      <dsp:txXfrm>
        <a:off x="1569578" y="3389190"/>
        <a:ext cx="1074353" cy="810803"/>
      </dsp:txXfrm>
    </dsp:sp>
    <dsp:sp modelId="{7E66F63D-8FA6-42BB-A62A-C349B7EA69C6}">
      <dsp:nvSpPr>
        <dsp:cNvPr id="0" name=""/>
        <dsp:cNvSpPr/>
      </dsp:nvSpPr>
      <dsp:spPr>
        <a:xfrm>
          <a:off x="2869545" y="1863609"/>
          <a:ext cx="1074353" cy="832145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ntrol resource usage</a:t>
          </a:r>
          <a:endParaRPr lang="en-US" sz="1600" kern="1200" dirty="0"/>
        </a:p>
      </dsp:txBody>
      <dsp:txXfrm>
        <a:off x="2869545" y="1863609"/>
        <a:ext cx="1074353" cy="832145"/>
      </dsp:txXfrm>
    </dsp:sp>
    <dsp:sp modelId="{A45277E3-0420-4505-9B32-E8C33D91C7D0}">
      <dsp:nvSpPr>
        <dsp:cNvPr id="0" name=""/>
        <dsp:cNvSpPr/>
      </dsp:nvSpPr>
      <dsp:spPr>
        <a:xfrm>
          <a:off x="3138134" y="2921368"/>
          <a:ext cx="878981" cy="832145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ound execution time</a:t>
          </a:r>
          <a:endParaRPr lang="en-US" sz="1600" kern="1200" dirty="0"/>
        </a:p>
      </dsp:txBody>
      <dsp:txXfrm>
        <a:off x="3138134" y="2921368"/>
        <a:ext cx="878981" cy="832145"/>
      </dsp:txXfrm>
    </dsp:sp>
    <dsp:sp modelId="{619A917E-2FE0-4D54-B500-A6523829D53A}">
      <dsp:nvSpPr>
        <dsp:cNvPr id="0" name=""/>
        <dsp:cNvSpPr/>
      </dsp:nvSpPr>
      <dsp:spPr>
        <a:xfrm>
          <a:off x="3138134" y="3979128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ound queue size</a:t>
          </a:r>
          <a:endParaRPr lang="en-US" sz="1600" kern="1200" dirty="0"/>
        </a:p>
      </dsp:txBody>
      <dsp:txXfrm>
        <a:off x="3138134" y="3979128"/>
        <a:ext cx="1074353" cy="537176"/>
      </dsp:txXfrm>
    </dsp:sp>
    <dsp:sp modelId="{8C3924C6-95D7-4CDA-A998-F6CD342F1665}">
      <dsp:nvSpPr>
        <dsp:cNvPr id="0" name=""/>
        <dsp:cNvSpPr/>
      </dsp:nvSpPr>
      <dsp:spPr>
        <a:xfrm>
          <a:off x="4124446" y="1100818"/>
          <a:ext cx="1254618" cy="53717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source Management</a:t>
          </a:r>
          <a:endParaRPr lang="en-US" sz="1600" kern="1200" dirty="0"/>
        </a:p>
      </dsp:txBody>
      <dsp:txXfrm>
        <a:off x="4124446" y="1100818"/>
        <a:ext cx="1254618" cy="537176"/>
      </dsp:txXfrm>
    </dsp:sp>
    <dsp:sp modelId="{5677D944-029C-484C-80A5-13BC10A104E4}">
      <dsp:nvSpPr>
        <dsp:cNvPr id="0" name=""/>
        <dsp:cNvSpPr/>
      </dsp:nvSpPr>
      <dsp:spPr>
        <a:xfrm>
          <a:off x="4438101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smtClean="0"/>
            <a:t>Increase concurrency</a:t>
          </a:r>
          <a:endParaRPr lang="en-US" sz="1600" kern="1200"/>
        </a:p>
      </dsp:txBody>
      <dsp:txXfrm>
        <a:off x="4438101" y="1863609"/>
        <a:ext cx="1074353" cy="537176"/>
      </dsp:txXfrm>
    </dsp:sp>
    <dsp:sp modelId="{B29D70E0-3C5F-46EB-8055-DA38CAFC89E3}">
      <dsp:nvSpPr>
        <dsp:cNvPr id="0" name=""/>
        <dsp:cNvSpPr/>
      </dsp:nvSpPr>
      <dsp:spPr>
        <a:xfrm>
          <a:off x="4438101" y="2626399"/>
          <a:ext cx="1221829" cy="1301981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intain multiple copies of data/ computation</a:t>
          </a:r>
          <a:endParaRPr lang="en-US" sz="1600" kern="1200" dirty="0"/>
        </a:p>
      </dsp:txBody>
      <dsp:txXfrm>
        <a:off x="4438101" y="2626399"/>
        <a:ext cx="1221829" cy="1301981"/>
      </dsp:txXfrm>
    </dsp:sp>
    <dsp:sp modelId="{313ED6A2-462B-4141-834D-9A74299512E5}">
      <dsp:nvSpPr>
        <dsp:cNvPr id="0" name=""/>
        <dsp:cNvSpPr/>
      </dsp:nvSpPr>
      <dsp:spPr>
        <a:xfrm>
          <a:off x="4438101" y="435713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smtClean="0"/>
            <a:t>Increase Resource</a:t>
          </a:r>
          <a:endParaRPr lang="en-US" sz="1600" kern="1200"/>
        </a:p>
      </dsp:txBody>
      <dsp:txXfrm>
        <a:off x="4438101" y="4357139"/>
        <a:ext cx="1074353" cy="537176"/>
      </dsp:txXfrm>
    </dsp:sp>
    <dsp:sp modelId="{FB8A078E-B2AD-4CEF-B649-EE1D8B296623}">
      <dsp:nvSpPr>
        <dsp:cNvPr id="0" name=""/>
        <dsp:cNvSpPr/>
      </dsp:nvSpPr>
      <dsp:spPr>
        <a:xfrm>
          <a:off x="6388051" y="1100818"/>
          <a:ext cx="1074353" cy="53717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Resource Arbitration</a:t>
          </a:r>
          <a:endParaRPr lang="en-US" sz="1600" kern="1200"/>
        </a:p>
      </dsp:txBody>
      <dsp:txXfrm>
        <a:off x="6388051" y="1100818"/>
        <a:ext cx="1074353" cy="537176"/>
      </dsp:txXfrm>
    </dsp:sp>
    <dsp:sp modelId="{5EF3B480-E935-4555-B3CF-B0EEC2DD1246}">
      <dsp:nvSpPr>
        <dsp:cNvPr id="0" name=""/>
        <dsp:cNvSpPr/>
      </dsp:nvSpPr>
      <dsp:spPr>
        <a:xfrm>
          <a:off x="5738068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FIFO</a:t>
          </a:r>
          <a:endParaRPr lang="en-US" sz="1600" kern="1200"/>
        </a:p>
      </dsp:txBody>
      <dsp:txXfrm>
        <a:off x="5738068" y="1863609"/>
        <a:ext cx="1074353" cy="537176"/>
      </dsp:txXfrm>
    </dsp:sp>
    <dsp:sp modelId="{A58FAC38-F844-4ED7-8E05-301D65C37F2F}">
      <dsp:nvSpPr>
        <dsp:cNvPr id="0" name=""/>
        <dsp:cNvSpPr/>
      </dsp:nvSpPr>
      <dsp:spPr>
        <a:xfrm>
          <a:off x="7038035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Scheduling policy</a:t>
          </a:r>
          <a:endParaRPr lang="en-US" sz="1600" kern="1200"/>
        </a:p>
      </dsp:txBody>
      <dsp:txXfrm>
        <a:off x="7038035" y="1863609"/>
        <a:ext cx="1074353" cy="537176"/>
      </dsp:txXfrm>
    </dsp:sp>
    <dsp:sp modelId="{25C1F27A-1E2D-4892-BB4F-57A7E4F11EDF}">
      <dsp:nvSpPr>
        <dsp:cNvPr id="0" name=""/>
        <dsp:cNvSpPr/>
      </dsp:nvSpPr>
      <dsp:spPr>
        <a:xfrm>
          <a:off x="7306623" y="2626399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Static </a:t>
          </a:r>
          <a:endParaRPr lang="en-US" sz="1600" kern="1200"/>
        </a:p>
      </dsp:txBody>
      <dsp:txXfrm>
        <a:off x="7306623" y="2626399"/>
        <a:ext cx="1074353" cy="537176"/>
      </dsp:txXfrm>
    </dsp:sp>
    <dsp:sp modelId="{DD7130DD-593A-4323-998D-55A96692D1AD}">
      <dsp:nvSpPr>
        <dsp:cNvPr id="0" name=""/>
        <dsp:cNvSpPr/>
      </dsp:nvSpPr>
      <dsp:spPr>
        <a:xfrm>
          <a:off x="7306623" y="3389190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Dynamic priority</a:t>
          </a:r>
          <a:endParaRPr lang="en-US" sz="1600" kern="1200"/>
        </a:p>
      </dsp:txBody>
      <dsp:txXfrm>
        <a:off x="7306623" y="3389190"/>
        <a:ext cx="1074353" cy="537176"/>
      </dsp:txXfrm>
    </dsp:sp>
    <dsp:sp modelId="{4C681653-6A95-44B8-8E18-604E239A8921}">
      <dsp:nvSpPr>
        <dsp:cNvPr id="0" name=""/>
        <dsp:cNvSpPr/>
      </dsp:nvSpPr>
      <dsp:spPr>
        <a:xfrm>
          <a:off x="7306623" y="4151981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Fixed priority</a:t>
          </a:r>
          <a:endParaRPr lang="en-US" sz="1600" kern="1200"/>
        </a:p>
      </dsp:txBody>
      <dsp:txXfrm>
        <a:off x="7306623" y="4151981"/>
        <a:ext cx="1074353" cy="537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58039D-24F2-4D51-B76B-A8077CD65FB8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7B8B4-5152-46B6-BE8C-41F055EE686F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D3B123-3333-4AA8-B376-39BB758B3121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87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615C85-A48B-47CE-BE65-E87B3CC809B3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2C959-E8FD-4F98-B61A-9C7FE42E3770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8FAFCF-668A-4C5E-8428-0BDF980ADCDF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7FF673-6D6D-4880-B41D-DD69D715BB78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32811-ECAA-4530-A986-AA7D765ABF02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771F4-998A-45BF-9003-D95EE5FDBC0A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F65113-A21F-4B4C-99B1-01A8CFCF9546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180BADF-7D63-4AB0-B1F9-9AD99337E28A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5.2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Performance and Its Tactic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Design Checklist for a Quality Attribute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llocate responsibility</a:t>
            </a:r>
          </a:p>
          <a:p>
            <a:pPr lvl="1"/>
            <a:r>
              <a:rPr lang="en-US" sz="2000" dirty="0" smtClean="0"/>
              <a:t>Modules can take care of the required quality requirement</a:t>
            </a:r>
          </a:p>
          <a:p>
            <a:r>
              <a:rPr lang="en-US" sz="2400" dirty="0" smtClean="0"/>
              <a:t>Manage Data</a:t>
            </a:r>
          </a:p>
          <a:p>
            <a:pPr lvl="1"/>
            <a:r>
              <a:rPr lang="en-US" sz="2000" dirty="0" smtClean="0"/>
              <a:t>Identify the portion of the data that needs to be managed for this quality attribute</a:t>
            </a:r>
          </a:p>
          <a:p>
            <a:pPr lvl="1"/>
            <a:r>
              <a:rPr lang="en-US" sz="2000" dirty="0" smtClean="0"/>
              <a:t>Plan for various data design w.r.t. the quality attribute</a:t>
            </a:r>
          </a:p>
          <a:p>
            <a:r>
              <a:rPr lang="en-US" sz="2400" dirty="0" smtClean="0"/>
              <a:t>Resource Management Planning</a:t>
            </a:r>
          </a:p>
          <a:p>
            <a:pPr lvl="1"/>
            <a:r>
              <a:rPr lang="en-US" sz="2000" dirty="0"/>
              <a:t>How infrastructure should be </a:t>
            </a:r>
            <a:r>
              <a:rPr lang="en-US" sz="2000" dirty="0" smtClean="0"/>
              <a:t>monitored, tuned</a:t>
            </a:r>
            <a:r>
              <a:rPr lang="en-US" sz="2000" dirty="0"/>
              <a:t>, deployed to address the quality </a:t>
            </a:r>
            <a:r>
              <a:rPr lang="en-US" sz="2000" dirty="0" smtClean="0"/>
              <a:t>concern</a:t>
            </a:r>
          </a:p>
          <a:p>
            <a:r>
              <a:rPr lang="en-US" sz="2400" dirty="0" smtClean="0"/>
              <a:t>Manage Coordination</a:t>
            </a:r>
          </a:p>
          <a:p>
            <a:pPr lvl="1"/>
            <a:r>
              <a:rPr lang="en-US" sz="2000" dirty="0" smtClean="0"/>
              <a:t>Plan how system elements communicate and coordinate</a:t>
            </a:r>
            <a:endParaRPr lang="en-US" sz="2000" dirty="0"/>
          </a:p>
          <a:p>
            <a:r>
              <a:rPr lang="en-US" sz="2400" dirty="0" smtClean="0"/>
              <a:t>Binding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F0A674-DF95-4F6B-92D7-A3556C102E5D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151102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03200"/>
            <a:ext cx="8229600" cy="939800"/>
          </a:xfrm>
        </p:spPr>
        <p:txBody>
          <a:bodyPr/>
          <a:lstStyle/>
          <a:p>
            <a:r>
              <a:rPr lang="en-US" dirty="0" smtClean="0"/>
              <a:t>Performance- Design Checklist- Allocate responsibil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Identify which features may involve or cause</a:t>
            </a:r>
          </a:p>
          <a:p>
            <a:pPr lvl="1"/>
            <a:r>
              <a:rPr lang="en-US" sz="2000" dirty="0" smtClean="0"/>
              <a:t>Heavy workload</a:t>
            </a:r>
          </a:p>
          <a:p>
            <a:pPr lvl="1"/>
            <a:r>
              <a:rPr lang="en-US" sz="2000" dirty="0" smtClean="0"/>
              <a:t>Time-critical response</a:t>
            </a:r>
          </a:p>
          <a:p>
            <a:r>
              <a:rPr lang="en-US" sz="2400" dirty="0" smtClean="0"/>
              <a:t>Identify which part of the system that’s heavily used</a:t>
            </a:r>
          </a:p>
          <a:p>
            <a:r>
              <a:rPr lang="en-US" sz="2400" dirty="0" smtClean="0"/>
              <a:t>For these, analyze the scenarios that can result in performance bottleneck</a:t>
            </a:r>
          </a:p>
          <a:p>
            <a:r>
              <a:rPr lang="en-US" sz="2400" dirty="0" smtClean="0"/>
              <a:t>Furthermore--</a:t>
            </a:r>
          </a:p>
          <a:p>
            <a:pPr lvl="1"/>
            <a:r>
              <a:rPr lang="en-US" sz="2000" dirty="0" smtClean="0"/>
              <a:t>Assign Responsibilities related to threads </a:t>
            </a:r>
            <a:r>
              <a:rPr lang="en-US" sz="2000" dirty="0"/>
              <a:t>of control —allocation and de-allocation of threads, maintaining thread pools, and so </a:t>
            </a:r>
            <a:r>
              <a:rPr lang="en-US" sz="2000" dirty="0" smtClean="0"/>
              <a:t>forth</a:t>
            </a:r>
            <a:endParaRPr lang="en-US" sz="2000" dirty="0"/>
          </a:p>
          <a:p>
            <a:pPr lvl="1"/>
            <a:r>
              <a:rPr lang="en-US" sz="2000" dirty="0" smtClean="0"/>
              <a:t>Assign responsibilities that will schedule </a:t>
            </a:r>
            <a:r>
              <a:rPr lang="en-US" sz="2000" dirty="0"/>
              <a:t>shared resources or </a:t>
            </a:r>
            <a:r>
              <a:rPr lang="en-US" sz="2000" dirty="0" smtClean="0"/>
              <a:t>appropriately select, manage performance-related </a:t>
            </a:r>
            <a:r>
              <a:rPr lang="en-US" sz="2000" dirty="0"/>
              <a:t>artifacts such as queues, buffers, and </a:t>
            </a:r>
            <a:r>
              <a:rPr lang="en-US" sz="2000" dirty="0" smtClean="0"/>
              <a:t>caches</a:t>
            </a:r>
            <a:endParaRPr lang="en-US" sz="20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B935F1-54B5-478D-B1EC-CBBE8282E88F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278209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39800"/>
          </a:xfrm>
        </p:spPr>
        <p:txBody>
          <a:bodyPr/>
          <a:lstStyle/>
          <a:p>
            <a:r>
              <a:rPr lang="en-US" dirty="0"/>
              <a:t>Performance- Design Checklist- </a:t>
            </a:r>
            <a:r>
              <a:rPr lang="en-US" dirty="0" smtClean="0"/>
              <a:t>Manage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Identify the data that’s involved in time </a:t>
            </a:r>
            <a:r>
              <a:rPr lang="en-US" sz="2400" dirty="0"/>
              <a:t>critical response requirements, </a:t>
            </a:r>
            <a:r>
              <a:rPr lang="en-US" sz="2400" dirty="0" smtClean="0"/>
              <a:t>heavily </a:t>
            </a:r>
            <a:r>
              <a:rPr lang="en-US" sz="2400" dirty="0"/>
              <a:t>used, </a:t>
            </a:r>
            <a:r>
              <a:rPr lang="en-US" sz="2400" dirty="0" smtClean="0"/>
              <a:t>massive size that needs to be loaded etc. For </a:t>
            </a:r>
            <a:r>
              <a:rPr lang="en-US" sz="2400" dirty="0"/>
              <a:t>those data </a:t>
            </a:r>
            <a:r>
              <a:rPr lang="en-US" sz="2400" dirty="0" smtClean="0"/>
              <a:t>determine </a:t>
            </a:r>
            <a:endParaRPr lang="en-US" sz="2400" dirty="0"/>
          </a:p>
          <a:p>
            <a:pPr lvl="1"/>
            <a:r>
              <a:rPr lang="en-US" sz="2000" dirty="0"/>
              <a:t>whether maintaining multiple copies of key data would benefit performance</a:t>
            </a:r>
          </a:p>
          <a:p>
            <a:pPr lvl="1"/>
            <a:r>
              <a:rPr lang="en-US" sz="2000" dirty="0"/>
              <a:t>partitioning data would benefit performance</a:t>
            </a:r>
          </a:p>
          <a:p>
            <a:pPr lvl="1"/>
            <a:r>
              <a:rPr lang="en-US" sz="2000" dirty="0"/>
              <a:t>whether reducing the processing requirements for the creation, initialization, persistence, manipulation, translation, or destruction of the enumerated data abstractions is possible</a:t>
            </a:r>
          </a:p>
          <a:p>
            <a:pPr lvl="1"/>
            <a:r>
              <a:rPr lang="en-US" sz="2000" dirty="0"/>
              <a:t>whether adding resources to reduce bottlenecks for the creation, initialization, persistence, manipulation, translation, or destruction of the enumerated data abstractions is feasible.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752AB9-C7B4-4BE2-BD2F-8EE1F74BFC2C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16735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03200"/>
            <a:ext cx="8229600" cy="939800"/>
          </a:xfrm>
        </p:spPr>
        <p:txBody>
          <a:bodyPr/>
          <a:lstStyle/>
          <a:p>
            <a:r>
              <a:rPr lang="en-US" sz="4000" dirty="0"/>
              <a:t>Performance- Design Checklist- </a:t>
            </a:r>
            <a:r>
              <a:rPr lang="en-US" sz="4000" dirty="0" smtClean="0"/>
              <a:t>Manage Coordination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lnSpc>
                <a:spcPct val="80000"/>
              </a:lnSpc>
              <a:buSzPts val="800"/>
              <a:tabLst>
                <a:tab pos="274320" algn="l"/>
              </a:tabLst>
            </a:pPr>
            <a:endParaRPr lang="en-US" sz="2400" dirty="0"/>
          </a:p>
          <a:p>
            <a:r>
              <a:rPr lang="en-US" sz="2400" dirty="0" smtClean="0"/>
              <a:t>Look </a:t>
            </a:r>
            <a:r>
              <a:rPr lang="en-US" sz="2400" dirty="0"/>
              <a:t>for the possibility of introducing concurrency (and obviously pay attention to thread-safety), event </a:t>
            </a:r>
            <a:r>
              <a:rPr lang="en-US" sz="2400" dirty="0" err="1"/>
              <a:t>priorization</a:t>
            </a:r>
            <a:r>
              <a:rPr lang="en-US" sz="2400" dirty="0"/>
              <a:t>, or scheduling </a:t>
            </a:r>
            <a:r>
              <a:rPr lang="en-US" sz="2400" dirty="0" smtClean="0"/>
              <a:t>strategy</a:t>
            </a:r>
          </a:p>
          <a:p>
            <a:pPr lvl="1"/>
            <a:r>
              <a:rPr lang="en-US" sz="2000" dirty="0" smtClean="0"/>
              <a:t>Will this strategy have a </a:t>
            </a:r>
            <a:r>
              <a:rPr lang="en-US" sz="2000" dirty="0"/>
              <a:t>significant positive effect on </a:t>
            </a:r>
            <a:r>
              <a:rPr lang="en-US" sz="2000" dirty="0" smtClean="0"/>
              <a:t>performance? Check</a:t>
            </a:r>
          </a:p>
          <a:p>
            <a:pPr lvl="1"/>
            <a:r>
              <a:rPr lang="en-US" sz="2000" dirty="0"/>
              <a:t>Determine whether the choice of threads of control and their associated responsibilities introduces </a:t>
            </a:r>
            <a:r>
              <a:rPr lang="en-US" sz="2000" dirty="0" smtClean="0"/>
              <a:t>bottlenecks</a:t>
            </a:r>
          </a:p>
          <a:p>
            <a:pPr lvl="1"/>
            <a:endParaRPr lang="en-US" sz="2000" dirty="0" smtClean="0"/>
          </a:p>
          <a:p>
            <a:r>
              <a:rPr lang="en-US" sz="2400" kern="1100" dirty="0"/>
              <a:t>Consider appropriate </a:t>
            </a:r>
            <a:r>
              <a:rPr lang="en-US" sz="2400" kern="1100" dirty="0" smtClean="0"/>
              <a:t>mechanisms for example</a:t>
            </a:r>
          </a:p>
          <a:p>
            <a:pPr lvl="1"/>
            <a:r>
              <a:rPr lang="en-US" sz="2000" kern="1100" dirty="0" err="1"/>
              <a:t>stateful</a:t>
            </a:r>
            <a:r>
              <a:rPr lang="en-US" sz="2000" kern="1100" dirty="0"/>
              <a:t>, stateless, synchronous, asynchronous, guaranteed </a:t>
            </a:r>
            <a:r>
              <a:rPr lang="en-US" sz="2000" kern="1100" dirty="0" smtClean="0"/>
              <a:t>delivery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3EAA97-E834-45C5-BA96-346AFC32B79F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754951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 Design Checklist- Resource Manag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Determine which resources </a:t>
            </a:r>
            <a:r>
              <a:rPr lang="en-US" sz="2000" dirty="0" smtClean="0"/>
              <a:t>(CPU, memory) in </a:t>
            </a:r>
            <a:r>
              <a:rPr lang="en-US" sz="2000" dirty="0"/>
              <a:t>your system are critical for performance. </a:t>
            </a:r>
            <a:endParaRPr lang="en-US" sz="2000" dirty="0" smtClean="0"/>
          </a:p>
          <a:p>
            <a:pPr lvl="1"/>
            <a:r>
              <a:rPr lang="en-US" sz="1600" dirty="0" smtClean="0"/>
              <a:t>Ensure </a:t>
            </a:r>
            <a:r>
              <a:rPr lang="en-US" sz="1600" dirty="0"/>
              <a:t>they will be monitored and managed under normal and overloaded system operation. </a:t>
            </a:r>
          </a:p>
          <a:p>
            <a:r>
              <a:rPr lang="en-US" sz="2000" dirty="0" smtClean="0"/>
              <a:t>Plan for mitigating actions early, for instance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1600" dirty="0"/>
              <a:t>Where heavy network loading will occur, determine whether co-locating some components will reduce loading and improve overall efficiency.</a:t>
            </a:r>
          </a:p>
          <a:p>
            <a:pPr marL="400050" lvl="1">
              <a:lnSpc>
                <a:spcPct val="80000"/>
              </a:lnSpc>
              <a:spcBef>
                <a:spcPts val="600"/>
              </a:spcBef>
              <a:spcAft>
                <a:spcPts val="400"/>
              </a:spcAft>
            </a:pPr>
            <a:r>
              <a:rPr lang="en-US" sz="1600" dirty="0"/>
              <a:t>Ensure that components with heavy computation requirements are assigned to processors with the most processing capacity. </a:t>
            </a:r>
          </a:p>
          <a:p>
            <a:endParaRPr lang="en-US" sz="2000" dirty="0"/>
          </a:p>
          <a:p>
            <a:r>
              <a:rPr lang="en-US" sz="2000" dirty="0" smtClean="0"/>
              <a:t>Prioritization </a:t>
            </a:r>
            <a:r>
              <a:rPr lang="en-US" sz="2000" dirty="0"/>
              <a:t>of  resources and access to resources </a:t>
            </a:r>
          </a:p>
          <a:p>
            <a:pPr lvl="1"/>
            <a:r>
              <a:rPr lang="en-US" sz="1600" dirty="0"/>
              <a:t>scheduling and locking strategies </a:t>
            </a:r>
          </a:p>
          <a:p>
            <a:r>
              <a:rPr lang="en-US" sz="2000" dirty="0" smtClean="0"/>
              <a:t>Deploying </a:t>
            </a:r>
            <a:r>
              <a:rPr lang="en-US" sz="2000" dirty="0"/>
              <a:t>additional resources on demand to meet increased loads</a:t>
            </a:r>
          </a:p>
          <a:p>
            <a:pPr lvl="1"/>
            <a:r>
              <a:rPr lang="en-US" sz="1600" dirty="0" smtClean="0"/>
              <a:t>Typically possible in a Cloud and virtualized scenario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CB0BB2-AD9F-46C0-8EC2-7C31F4D25CE3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317643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Performance Design checklist-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For each element that will be bound after compile time, determine </a:t>
            </a:r>
            <a:r>
              <a:rPr lang="en-US" dirty="0" smtClean="0"/>
              <a:t>the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time </a:t>
            </a:r>
            <a:r>
              <a:rPr lang="en-US" kern="1100" dirty="0"/>
              <a:t>necessary to complete the </a:t>
            </a:r>
            <a:r>
              <a:rPr lang="en-US" kern="1100" dirty="0" smtClean="0"/>
              <a:t>binding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additional </a:t>
            </a:r>
            <a:r>
              <a:rPr lang="en-US" kern="1100" dirty="0"/>
              <a:t>overhead introduced by using the late binding mechanism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dirty="0" smtClean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Ensure </a:t>
            </a:r>
            <a:r>
              <a:rPr lang="en-US" dirty="0"/>
              <a:t>that these values do not pose unacceptable performance penalties on the system.</a:t>
            </a:r>
            <a:endParaRPr lang="en-US" dirty="0">
              <a:solidFill>
                <a:srgbClr val="000080"/>
              </a:solidFill>
              <a:latin typeface="Times"/>
              <a:ea typeface="Times New Roman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CFA5445-69FC-4529-BF21-8FF0EB0AF1FB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18006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Performance Design Checklist- Technology cho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Choice of technology is often governed by the organization mandate (enterprise architecture)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 smtClean="0"/>
              <a:t>Find out if the chosen technology will let </a:t>
            </a:r>
            <a:r>
              <a:rPr lang="en-US" sz="2400" dirty="0"/>
              <a:t>you set and meet </a:t>
            </a:r>
            <a:r>
              <a:rPr lang="en-US" sz="2400" dirty="0" smtClean="0"/>
              <a:t>real </a:t>
            </a:r>
            <a:r>
              <a:rPr lang="en-US" sz="2400" dirty="0"/>
              <a:t>time deadlines? </a:t>
            </a:r>
            <a:endParaRPr lang="en-US" sz="2400" dirty="0" smtClean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000" dirty="0" smtClean="0"/>
              <a:t>Do </a:t>
            </a:r>
            <a:r>
              <a:rPr lang="en-US" sz="2000" dirty="0"/>
              <a:t>you know its characteristics under load and its limits?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/>
              <a:t>Does your choice of technology give you the ability to </a:t>
            </a:r>
            <a:r>
              <a:rPr lang="en-US" sz="2400" dirty="0" smtClean="0"/>
              <a:t>set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000" kern="1100" dirty="0" smtClean="0"/>
              <a:t>scheduling policy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000" kern="1100" dirty="0" smtClean="0"/>
              <a:t>Priorities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000" kern="1100" dirty="0" smtClean="0"/>
              <a:t>policies </a:t>
            </a:r>
            <a:r>
              <a:rPr lang="en-US" sz="2000" kern="1100" dirty="0"/>
              <a:t>for reducing </a:t>
            </a:r>
            <a:r>
              <a:rPr lang="en-US" sz="2000" kern="1100" dirty="0" smtClean="0"/>
              <a:t>demand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000" kern="1100" dirty="0" smtClean="0"/>
              <a:t>allocation </a:t>
            </a:r>
            <a:r>
              <a:rPr lang="en-US" sz="2000" kern="1100" dirty="0"/>
              <a:t>of portions of the technology to </a:t>
            </a:r>
            <a:r>
              <a:rPr lang="en-US" sz="2000" kern="1100" dirty="0" smtClean="0"/>
              <a:t>processors</a:t>
            </a:r>
            <a:endParaRPr lang="en-US" sz="2000" kern="1100" dirty="0"/>
          </a:p>
          <a:p>
            <a:pPr marL="25400" marR="0" indent="0">
              <a:lnSpc>
                <a:spcPct val="80000"/>
              </a:lnSpc>
              <a:spcBef>
                <a:spcPts val="500"/>
              </a:spcBef>
              <a:spcAft>
                <a:spcPts val="300"/>
              </a:spcAft>
              <a:tabLst>
                <a:tab pos="274320" algn="l"/>
              </a:tabLst>
            </a:pPr>
            <a:r>
              <a:rPr lang="en-US" sz="2400" kern="1100" dirty="0"/>
              <a:t>Does your choice of technology introduce excessive </a:t>
            </a:r>
            <a:r>
              <a:rPr lang="en-US" sz="2400" kern="1100" dirty="0" smtClean="0"/>
              <a:t>overhead?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80A16A7-8CED-48A7-9E56-00F3D04848D6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398686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7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144713" y="4271963"/>
            <a:ext cx="6923087" cy="2281237"/>
          </a:xfrm>
        </p:spPr>
        <p:txBody>
          <a:bodyPr>
            <a:normAutofit/>
          </a:bodyPr>
          <a:lstStyle/>
          <a:p>
            <a:pPr algn="r" eaLnBrk="1" hangingPunct="1">
              <a:defRPr/>
            </a:pPr>
            <a:endParaRPr lang="en-GB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7D762A-2ED0-4600-B7AB-310CD4B4887A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82938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Performanc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oftware </a:t>
            </a:r>
            <a:r>
              <a:rPr lang="en-US" dirty="0"/>
              <a:t>system’s ability to meet timing </a:t>
            </a:r>
            <a:r>
              <a:rPr lang="en-US" dirty="0" smtClean="0"/>
              <a:t>requirements when it responds to an event  </a:t>
            </a:r>
          </a:p>
          <a:p>
            <a:r>
              <a:rPr lang="en-US" dirty="0" smtClean="0"/>
              <a:t>Events are</a:t>
            </a:r>
          </a:p>
          <a:p>
            <a:pPr lvl="1"/>
            <a:r>
              <a:rPr lang="en-US" dirty="0" smtClean="0"/>
              <a:t>interrupts</a:t>
            </a:r>
            <a:r>
              <a:rPr lang="en-US" dirty="0"/>
              <a:t>, messages, requests from users or other </a:t>
            </a:r>
            <a:r>
              <a:rPr lang="en-US" dirty="0" smtClean="0"/>
              <a:t>systems</a:t>
            </a:r>
          </a:p>
          <a:p>
            <a:pPr lvl="1"/>
            <a:r>
              <a:rPr lang="en-US" dirty="0" smtClean="0"/>
              <a:t>clock </a:t>
            </a:r>
            <a:r>
              <a:rPr lang="en-US" dirty="0"/>
              <a:t>events marking the passage of time 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system, or some element of the system, must </a:t>
            </a:r>
            <a:r>
              <a:rPr lang="en-US" b="1" u="sng" dirty="0"/>
              <a:t>respond to them </a:t>
            </a:r>
            <a:r>
              <a:rPr lang="en-US" dirty="0"/>
              <a:t>in </a:t>
            </a:r>
            <a:r>
              <a:rPr lang="en-US" dirty="0" smtClean="0"/>
              <a:t>tim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317C338-32B0-4D23-832B-A3199228BC21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02184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 Scenario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52400" y="2133600"/>
            <a:ext cx="990600" cy="17859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600" dirty="0" smtClean="0"/>
              <a:t>External</a:t>
            </a:r>
            <a:endParaRPr lang="en-US" sz="1600" dirty="0"/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600" dirty="0" smtClean="0"/>
              <a:t>Internal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95400" y="2133600"/>
            <a:ext cx="18288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b="1" dirty="0" smtClean="0"/>
              <a:t>Events that are</a:t>
            </a:r>
            <a:endParaRPr lang="en-US" sz="1600" b="1" dirty="0"/>
          </a:p>
          <a:p>
            <a:pPr lvl="1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Periodic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Sporadic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Stochastic (with </a:t>
            </a:r>
            <a:r>
              <a:rPr lang="en-US" sz="1600" dirty="0" err="1" smtClean="0">
                <a:solidFill>
                  <a:schemeClr val="tx1"/>
                </a:solidFill>
              </a:rPr>
              <a:t>avg</a:t>
            </a:r>
            <a:r>
              <a:rPr lang="en-US" sz="1600" dirty="0" smtClean="0">
                <a:solidFill>
                  <a:schemeClr val="tx1"/>
                </a:solidFill>
              </a:rPr>
              <a:t> 1000 </a:t>
            </a:r>
            <a:r>
              <a:rPr lang="en-US" sz="1600" dirty="0" err="1" smtClean="0">
                <a:solidFill>
                  <a:schemeClr val="tx1"/>
                </a:solidFill>
              </a:rPr>
              <a:t>txn</a:t>
            </a:r>
            <a:r>
              <a:rPr lang="en-US" sz="1600" dirty="0" smtClean="0">
                <a:solidFill>
                  <a:schemeClr val="tx1"/>
                </a:solidFill>
              </a:rPr>
              <a:t>/min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52800" y="2133600"/>
            <a:ext cx="1371600" cy="307181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Running in normal mode</a:t>
            </a: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Overloaded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876799" y="2133600"/>
            <a:ext cx="2169225" cy="307181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ITIGATING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Processes event in time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Changes the service-level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162800" y="2150269"/>
            <a:ext cx="1828801" cy="305514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Latency or deadline by which it must be processed</a:t>
            </a:r>
            <a:endParaRPr lang="en-US" sz="1600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roughput- #of events processed/time</a:t>
            </a:r>
            <a:endParaRPr lang="en-US" sz="1600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Jitter- variation</a:t>
            </a:r>
            <a:endParaRPr lang="en-US" sz="1600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iss rat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Data </a:t>
            </a:r>
            <a:r>
              <a:rPr lang="en-US" sz="1600" dirty="0" smtClean="0">
                <a:solidFill>
                  <a:schemeClr val="tx1"/>
                </a:solidFill>
              </a:rPr>
              <a:t>los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29000" y="2798309"/>
            <a:ext cx="1219200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3286" y="5410200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sers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295400" y="5410200"/>
            <a:ext cx="182880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ubmits transactions and expect response in 3s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4952999" y="5410200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ransactions processed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7086599" y="5410200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verage latency of 2s</a:t>
            </a:r>
            <a:endParaRPr lang="en-US" sz="16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85FC9C-0163-4497-9461-ED0B1DA408DE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13001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2" grpId="0"/>
      <p:bldP spid="14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Periodic- comes at regular intervals (real time systems)</a:t>
            </a:r>
          </a:p>
          <a:p>
            <a:r>
              <a:rPr lang="en-US" dirty="0" smtClean="0"/>
              <a:t>Stochastic- comes randomly following a probability distribution (</a:t>
            </a:r>
            <a:r>
              <a:rPr lang="en-US" dirty="0" err="1" smtClean="0"/>
              <a:t>eCommerce</a:t>
            </a:r>
            <a:r>
              <a:rPr lang="en-US" dirty="0" smtClean="0"/>
              <a:t> website)</a:t>
            </a:r>
          </a:p>
          <a:p>
            <a:r>
              <a:rPr lang="en-US" dirty="0" smtClean="0"/>
              <a:t>Sporadic-  keyboard event from huma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Latency- time between arrival of stimulus and system response</a:t>
            </a:r>
          </a:p>
          <a:p>
            <a:r>
              <a:rPr lang="en-US" dirty="0" smtClean="0"/>
              <a:t>Throughput- number of </a:t>
            </a:r>
            <a:r>
              <a:rPr lang="en-US" dirty="0" err="1" smtClean="0"/>
              <a:t>txn</a:t>
            </a:r>
            <a:r>
              <a:rPr lang="en-US" dirty="0" smtClean="0"/>
              <a:t> processed/unit of time</a:t>
            </a:r>
          </a:p>
          <a:p>
            <a:r>
              <a:rPr lang="en-US" dirty="0" smtClean="0"/>
              <a:t>Jitter- allowable variation in latency</a:t>
            </a:r>
          </a:p>
          <a:p>
            <a:r>
              <a:rPr lang="en-US" dirty="0" smtClean="0"/>
              <a:t>#events not processed</a:t>
            </a:r>
          </a:p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7FF673-6D6D-4880-B41D-DD69D715BB78}" type="datetime1">
              <a:rPr lang="en-US" smtClean="0"/>
              <a:pPr>
                <a:defRPr/>
              </a:pPr>
              <a:t>5/26/2015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ents and Respons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31DF37-DF66-40D8-86FD-5CEEB6424110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val="1811003763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383242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BA7490-6ACB-4B33-883C-6FA120FC9D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FA55980-77AF-44D0-A3F7-3BC269961A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29320F6-83FB-4A89-9054-D9E9E12EE9B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43736C3-DC97-41E9-A92D-0C87CF3D4C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C3924C6-95D7-4CDA-A998-F6CD342F16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F082D60-CC48-413C-8900-CCAAFA96DC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8A078E-B2AD-4CEF-B649-EE1D8B2966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C2F14F4-F80C-499C-898D-658D05F28B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63B776-8325-407C-949F-EF4E998D6E2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D6034CB-E414-4170-8B00-5686E0E374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3FC501E-E654-41F7-BA6A-0BF70B2D3C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C90B3C0-311B-4985-BF2C-4868A2BA20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E66F63D-8FA6-42BB-A62A-C349B7EA69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3B7BB75-3081-4A5F-AE84-D0A5017A25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677D944-029C-484C-80A5-13BC10A104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0E31743-868F-406B-876C-6B11BD5733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29D70E0-3C5F-46EB-8055-DA38CAFC89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A7675F5-2BBC-4E57-B900-715F59D6F9D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13ED6A2-462B-4141-834D-9A74299512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74A45A3-F760-4C0A-96C3-EA44E0B9510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EF3B480-E935-4555-B3CF-B0EEC2DD124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59C8F32-68AE-41D1-8F21-AF2ADD2821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58FAC38-F844-4ED7-8E05-301D65C37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A285E9D-B462-4456-8ED7-DDC2E8C7683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11BC86-6BAE-45D5-BE76-F78A05459A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A2BD802-BF83-415A-AED6-A8AEE65C71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7CAA8CC-E8AB-4416-AC75-95F821E67A5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ECEA8CD-85C0-4A0E-A40C-3A0438CC7C8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262B25E-D781-4D44-82CD-CC9D501578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0B7A79-132C-4674-BEC6-DB17C8FE71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48FE02-8066-4510-AB7C-F56BD51BDF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BCCE23A-CC94-4B5F-B13D-CB73BFAE040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45277E3-0420-4505-9B32-E8C33D91C7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02AF2FA-B901-4EBD-A0F4-874AF10956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9A917E-2FE0-4D54-B500-A6523829D5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AF14733-7772-4221-A3F0-B49E68B56A2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5C1F27A-1E2D-4892-BB4F-57A7E4F11E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6489E13-5EBB-46EA-BAD7-DF8FF1BD95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D7130DD-593A-4323-998D-55A96692D1A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AB28D6A-8651-4C2D-A93F-547F675057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C681653-6A95-44B8-8E18-604E239A89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lvl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System fails to Respon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Resource Consumption</a:t>
            </a:r>
          </a:p>
          <a:p>
            <a:pPr lvl="1"/>
            <a:r>
              <a:rPr lang="en-US" sz="2000" dirty="0" smtClean="0"/>
              <a:t>CPU, memory, data store, network communication</a:t>
            </a:r>
          </a:p>
          <a:p>
            <a:pPr lvl="1"/>
            <a:r>
              <a:rPr lang="en-US" sz="2000" dirty="0" smtClean="0"/>
              <a:t>A buffer may be sequentially accessed in a critical section</a:t>
            </a:r>
          </a:p>
          <a:p>
            <a:pPr lvl="1"/>
            <a:r>
              <a:rPr lang="en-US" sz="2000" dirty="0" smtClean="0"/>
              <a:t>There may be a workflow of tasks one of which may be choked with request</a:t>
            </a:r>
          </a:p>
          <a:p>
            <a:pPr marL="457200" lvl="1" indent="0">
              <a:buNone/>
            </a:pPr>
            <a:endParaRPr lang="en-US" sz="2000" dirty="0" smtClean="0"/>
          </a:p>
          <a:p>
            <a:r>
              <a:rPr lang="en-US" sz="2400" dirty="0" smtClean="0"/>
              <a:t>Blocking of computation time</a:t>
            </a:r>
          </a:p>
          <a:p>
            <a:pPr lvl="1"/>
            <a:r>
              <a:rPr lang="en-US" sz="2000" dirty="0" smtClean="0"/>
              <a:t>Resource contention</a:t>
            </a:r>
          </a:p>
          <a:p>
            <a:pPr lvl="1"/>
            <a:r>
              <a:rPr lang="en-US" sz="2000" dirty="0" smtClean="0"/>
              <a:t>Availability of a resource</a:t>
            </a:r>
          </a:p>
          <a:p>
            <a:pPr lvl="1"/>
            <a:r>
              <a:rPr lang="en-US" sz="2000" dirty="0" smtClean="0"/>
              <a:t>Deadlock due to dependency of resour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6B952C4-7F47-4962-A132-CBA2EE2ED0B2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510524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rol Resource Dema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Increase Computation Efficiency: Improving the algorithms used in performance critical areas </a:t>
            </a:r>
          </a:p>
          <a:p>
            <a:pPr lvl="0"/>
            <a:r>
              <a:rPr lang="en-US" dirty="0" smtClean="0"/>
              <a:t>Reduce Overhead</a:t>
            </a:r>
          </a:p>
          <a:p>
            <a:pPr lvl="1"/>
            <a:r>
              <a:rPr lang="en-US" dirty="0" smtClean="0"/>
              <a:t>Reduce resource consumption when not needed</a:t>
            </a:r>
          </a:p>
          <a:p>
            <a:pPr lvl="2"/>
            <a:r>
              <a:rPr lang="en-US" dirty="0" smtClean="0"/>
              <a:t>Use of local objects instead of RMI calls</a:t>
            </a:r>
          </a:p>
          <a:p>
            <a:pPr lvl="2"/>
            <a:r>
              <a:rPr lang="en-US" dirty="0" smtClean="0"/>
              <a:t>Local interface in EJB 3.0</a:t>
            </a:r>
          </a:p>
          <a:p>
            <a:pPr lvl="1"/>
            <a:r>
              <a:rPr lang="en-US" dirty="0" smtClean="0"/>
              <a:t>Remove intermediaries (conflicts with modifiability) </a:t>
            </a:r>
          </a:p>
          <a:p>
            <a:r>
              <a:rPr lang="en-US" dirty="0" smtClean="0"/>
              <a:t>Manage </a:t>
            </a:r>
          </a:p>
          <a:p>
            <a:pPr lvl="1"/>
            <a:r>
              <a:rPr lang="en-US" dirty="0" smtClean="0"/>
              <a:t>event rate: If you have control, don’t sample too many events (e.g. sampling  environmental data)</a:t>
            </a:r>
          </a:p>
          <a:p>
            <a:pPr lvl="1"/>
            <a:r>
              <a:rPr lang="en-US" dirty="0" smtClean="0"/>
              <a:t>sampling time: If you don’t have control, sample them at a lower speed, leading to loss of request</a:t>
            </a:r>
          </a:p>
          <a:p>
            <a:r>
              <a:rPr lang="en-US" dirty="0" smtClean="0"/>
              <a:t>Bound</a:t>
            </a:r>
          </a:p>
          <a:p>
            <a:pPr lvl="1"/>
            <a:r>
              <a:rPr lang="en-US" dirty="0" smtClean="0"/>
              <a:t>Execution: Decide how much time should be given on an event. E.g. iteration bound on a data-dependent algorithm</a:t>
            </a:r>
          </a:p>
          <a:p>
            <a:pPr lvl="1"/>
            <a:r>
              <a:rPr lang="en-US" dirty="0" smtClean="0"/>
              <a:t>Queue size: Controls maximum number of queued arrival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82694DD-E00B-4E84-BD4F-7B83B57079CD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724583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nage Resou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Increase Resources(infrastructure)</a:t>
            </a:r>
          </a:p>
          <a:p>
            <a:pPr lvl="1"/>
            <a:r>
              <a:rPr lang="en-US" dirty="0" smtClean="0"/>
              <a:t>Faster </a:t>
            </a:r>
            <a:r>
              <a:rPr lang="en-US" dirty="0"/>
              <a:t>processors, additional processors, additional memory, and faster </a:t>
            </a:r>
            <a:r>
              <a:rPr lang="en-US" dirty="0" smtClean="0"/>
              <a:t>networks</a:t>
            </a:r>
          </a:p>
          <a:p>
            <a:r>
              <a:rPr lang="en-US" dirty="0" smtClean="0"/>
              <a:t>Increase Concurrency</a:t>
            </a:r>
          </a:p>
          <a:p>
            <a:pPr lvl="1"/>
            <a:r>
              <a:rPr lang="en-US" dirty="0" smtClean="0"/>
              <a:t>If possible, process requests in parallel</a:t>
            </a:r>
          </a:p>
          <a:p>
            <a:pPr lvl="1"/>
            <a:r>
              <a:rPr lang="en-US" dirty="0" smtClean="0"/>
              <a:t>Process </a:t>
            </a:r>
            <a:r>
              <a:rPr lang="en-US" dirty="0"/>
              <a:t>different streams of events on different </a:t>
            </a:r>
            <a:r>
              <a:rPr lang="en-US" dirty="0" smtClean="0"/>
              <a:t>threads</a:t>
            </a:r>
          </a:p>
          <a:p>
            <a:pPr lvl="1"/>
            <a:r>
              <a:rPr lang="en-US" dirty="0" smtClean="0"/>
              <a:t>Create </a:t>
            </a:r>
            <a:r>
              <a:rPr lang="en-US" dirty="0"/>
              <a:t>additional threads to process different sets of </a:t>
            </a:r>
            <a:r>
              <a:rPr lang="en-US" dirty="0" smtClean="0"/>
              <a:t>activities </a:t>
            </a:r>
          </a:p>
          <a:p>
            <a:r>
              <a:rPr lang="en-US" dirty="0" smtClean="0"/>
              <a:t>Multiple copies</a:t>
            </a:r>
          </a:p>
          <a:p>
            <a:pPr lvl="1"/>
            <a:r>
              <a:rPr lang="en-US" dirty="0" smtClean="0"/>
              <a:t>Computations : so that it can be performed faster (client-server), </a:t>
            </a:r>
            <a:r>
              <a:rPr lang="en-US" dirty="0" err="1" smtClean="0"/>
              <a:t>MapReduce</a:t>
            </a:r>
            <a:r>
              <a:rPr lang="en-US" dirty="0" smtClean="0"/>
              <a:t> computation</a:t>
            </a:r>
          </a:p>
          <a:p>
            <a:pPr lvl="1"/>
            <a:r>
              <a:rPr lang="en-US" dirty="0" smtClean="0"/>
              <a:t>Data: </a:t>
            </a:r>
          </a:p>
          <a:p>
            <a:pPr lvl="2"/>
            <a:r>
              <a:rPr lang="en-US" dirty="0" smtClean="0"/>
              <a:t>use of cache for faster access and reduce contention</a:t>
            </a:r>
          </a:p>
          <a:p>
            <a:pPr lvl="2"/>
            <a:r>
              <a:rPr lang="en-US" dirty="0" err="1" smtClean="0"/>
              <a:t>Hadoop</a:t>
            </a:r>
            <a:r>
              <a:rPr lang="en-US" dirty="0" smtClean="0"/>
              <a:t> maintains data copies to avoid data-transfer and improve data local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7304E8-F927-4589-AA38-61E49CA77EA4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844841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 Arbit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Resources are scheduled to reduce contention</a:t>
            </a:r>
          </a:p>
          <a:p>
            <a:pPr lvl="1"/>
            <a:r>
              <a:rPr lang="en-US" sz="1800" dirty="0" smtClean="0"/>
              <a:t>Processors, buffer, network</a:t>
            </a:r>
          </a:p>
          <a:p>
            <a:pPr lvl="1"/>
            <a:r>
              <a:rPr lang="en-US" sz="1800" dirty="0" smtClean="0"/>
              <a:t>Architect needs to choose the right scheduling strategy</a:t>
            </a:r>
          </a:p>
          <a:p>
            <a:r>
              <a:rPr lang="en-US" sz="2000" dirty="0" smtClean="0"/>
              <a:t>FIFO</a:t>
            </a:r>
          </a:p>
          <a:p>
            <a:r>
              <a:rPr lang="en-US" sz="2000" dirty="0" smtClean="0"/>
              <a:t>Fixed Priority</a:t>
            </a:r>
          </a:p>
          <a:p>
            <a:pPr lvl="1"/>
            <a:r>
              <a:rPr lang="en-US" sz="1800" dirty="0" smtClean="0"/>
              <a:t>Semantic importance</a:t>
            </a:r>
          </a:p>
          <a:p>
            <a:pPr lvl="2"/>
            <a:r>
              <a:rPr lang="en-US" sz="1600" dirty="0" smtClean="0"/>
              <a:t>Domain specific logic such as request from a privileged class gets higher priority</a:t>
            </a:r>
          </a:p>
          <a:p>
            <a:pPr lvl="1"/>
            <a:r>
              <a:rPr lang="en-US" sz="1800" dirty="0" smtClean="0"/>
              <a:t>Deadline monotonic (shortest job first)</a:t>
            </a:r>
          </a:p>
          <a:p>
            <a:r>
              <a:rPr lang="en-US" sz="2000" dirty="0" smtClean="0"/>
              <a:t>Dynamic priority</a:t>
            </a:r>
          </a:p>
          <a:p>
            <a:pPr lvl="1"/>
            <a:r>
              <a:rPr lang="en-US" sz="1800" dirty="0" smtClean="0"/>
              <a:t>Round robin</a:t>
            </a:r>
          </a:p>
          <a:p>
            <a:pPr lvl="1"/>
            <a:r>
              <a:rPr lang="en-US" sz="1800" dirty="0" smtClean="0"/>
              <a:t>Earliest deadline first- the job which has earliest deadline to complete</a:t>
            </a:r>
          </a:p>
          <a:p>
            <a:r>
              <a:rPr lang="en-US" sz="2000" dirty="0" smtClean="0"/>
              <a:t>Static scheduling</a:t>
            </a:r>
          </a:p>
          <a:p>
            <a:pPr lvl="1"/>
            <a:r>
              <a:rPr lang="en-US" sz="1800" dirty="0" smtClean="0"/>
              <a:t>Also pre-emptive scheduling polic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BDAB6FB-8AD1-4D68-8253-AB99FEFD58A2}" type="datetime1">
              <a:rPr lang="en-US" smtClean="0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593506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38</TotalTime>
  <Words>1190</Words>
  <Application>Microsoft Macintosh PowerPoint</Application>
  <PresentationFormat>On-screen Show (4:3)</PresentationFormat>
  <Paragraphs>237</Paragraphs>
  <Slides>1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Office Theme</vt:lpstr>
      <vt:lpstr>think-cell Slide</vt:lpstr>
      <vt:lpstr>SS ZG653 (RL 5.2): Software Architecture Performance and Its Tactics</vt:lpstr>
      <vt:lpstr>What is Performance?</vt:lpstr>
      <vt:lpstr>Performance Scenarios</vt:lpstr>
      <vt:lpstr>Events and Responses</vt:lpstr>
      <vt:lpstr>Performance Tactics</vt:lpstr>
      <vt:lpstr>Why System fails to Respond?</vt:lpstr>
      <vt:lpstr>Control Resource Demand</vt:lpstr>
      <vt:lpstr>Manage Resources</vt:lpstr>
      <vt:lpstr>Resource Arbitration</vt:lpstr>
      <vt:lpstr>Design Checklist for a Quality Attribute</vt:lpstr>
      <vt:lpstr>Performance- Design Checklist- Allocate responsibilities</vt:lpstr>
      <vt:lpstr>Performance- Design Checklist- Manage Data</vt:lpstr>
      <vt:lpstr>Performance- Design Checklist- Manage Coordination</vt:lpstr>
      <vt:lpstr>Performance Design Checklist- Resource Management</vt:lpstr>
      <vt:lpstr>Performance Design checklist- Binding</vt:lpstr>
      <vt:lpstr>Performance Design Checklist- Technology choice</vt:lpstr>
      <vt:lpstr>Slide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693</cp:revision>
  <dcterms:created xsi:type="dcterms:W3CDTF">2015-05-26T04:40:13Z</dcterms:created>
  <dcterms:modified xsi:type="dcterms:W3CDTF">2015-05-26T08:45:08Z</dcterms:modified>
</cp:coreProperties>
</file>